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58" r:id="rId4"/>
  </p:sldMasterIdLst>
  <p:notesMasterIdLst>
    <p:notesMasterId r:id="rId11"/>
  </p:notesMasterIdLst>
  <p:sldIdLst>
    <p:sldId id="256" r:id="rId5"/>
    <p:sldId id="8197" r:id="rId6"/>
    <p:sldId id="3488" r:id="rId7"/>
    <p:sldId id="8459" r:id="rId8"/>
    <p:sldId id="8505" r:id="rId9"/>
    <p:sldId id="8506" r:id="rId10"/>
  </p:sldIdLst>
  <p:sldSz cx="12192000" cy="6858000"/>
  <p:notesSz cx="6886575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BE748CD-6EB1-BECF-F6CD-3F02441D0D98}" name="Matthew Chesnais" initials="MC" userId="S::mchesnais@minderoo.com.au::70e300f0-f0b6-4532-a733-3a12d865d0f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Powl" initials="KP" lastIdx="8" clrIdx="0">
    <p:extLst>
      <p:ext uri="{19B8F6BF-5375-455C-9EA6-DF929625EA0E}">
        <p15:presenceInfo xmlns:p15="http://schemas.microsoft.com/office/powerpoint/2012/main" userId="S::kpowl@minderoo.com.au::bcbebb1f-9f3e-4aef-9394-86420e1baff4" providerId="AD"/>
      </p:ext>
    </p:extLst>
  </p:cmAuthor>
  <p:cmAuthor id="2" name="Milica Duric" initials="MD" lastIdx="1" clrIdx="1">
    <p:extLst>
      <p:ext uri="{19B8F6BF-5375-455C-9EA6-DF929625EA0E}">
        <p15:presenceInfo xmlns:p15="http://schemas.microsoft.com/office/powerpoint/2012/main" userId="S::mduric@minderoo.com.au::c2d7a13d-3366-4b01-8412-9e3afc0c5753" providerId="AD"/>
      </p:ext>
    </p:extLst>
  </p:cmAuthor>
  <p:cmAuthor id="3" name="Madelon Willemsen" initials="MW" lastIdx="1" clrIdx="2">
    <p:extLst>
      <p:ext uri="{19B8F6BF-5375-455C-9EA6-DF929625EA0E}">
        <p15:presenceInfo xmlns:p15="http://schemas.microsoft.com/office/powerpoint/2012/main" userId="S::mwillemsen@minderoo.com.au::1dc21312-a415-47a2-bdd6-62d42a43a75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AD9C8"/>
    <a:srgbClr val="FFCC00"/>
    <a:srgbClr val="F84900"/>
    <a:srgbClr val="FF4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317"/>
    <p:restoredTop sz="93758" autoAdjust="0"/>
  </p:normalViewPr>
  <p:slideViewPr>
    <p:cSldViewPr snapToGrid="0">
      <p:cViewPr varScale="1">
        <p:scale>
          <a:sx n="72" d="100"/>
          <a:sy n="72" d="100"/>
        </p:scale>
        <p:origin x="40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FC98A7-992A-489B-9695-7487ABAF42F9}" type="doc">
      <dgm:prSet loTypeId="urn:microsoft.com/office/officeart/2005/8/layout/cycle4" loCatId="relationship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AU"/>
        </a:p>
      </dgm:t>
    </dgm:pt>
    <dgm:pt modelId="{C5DCFB4D-AAA9-4850-BC51-DD4D7008E397}">
      <dgm:prSet phldrT="[Text]" custT="1"/>
      <dgm:spPr/>
      <dgm:t>
        <a:bodyPr/>
        <a:lstStyle/>
        <a:p>
          <a:pPr algn="r"/>
          <a:r>
            <a:rPr lang="en-US" sz="2000" dirty="0"/>
            <a:t>1. Early Fire Detection</a:t>
          </a:r>
          <a:endParaRPr lang="en-AU" sz="2000" dirty="0"/>
        </a:p>
      </dgm:t>
    </dgm:pt>
    <dgm:pt modelId="{F1D1ED4F-AEB4-4283-A0EF-AD65CAD83236}" type="parTrans" cxnId="{38B76043-304F-4E5D-8E23-565860F6FBC1}">
      <dgm:prSet/>
      <dgm:spPr/>
      <dgm:t>
        <a:bodyPr/>
        <a:lstStyle/>
        <a:p>
          <a:pPr algn="r"/>
          <a:endParaRPr lang="en-AU"/>
        </a:p>
      </dgm:t>
    </dgm:pt>
    <dgm:pt modelId="{EEE94CEC-ACE5-43EC-A5C8-9940F160EC3E}" type="sibTrans" cxnId="{38B76043-304F-4E5D-8E23-565860F6FBC1}">
      <dgm:prSet/>
      <dgm:spPr/>
      <dgm:t>
        <a:bodyPr/>
        <a:lstStyle/>
        <a:p>
          <a:pPr algn="r"/>
          <a:endParaRPr lang="en-AU"/>
        </a:p>
      </dgm:t>
    </dgm:pt>
    <dgm:pt modelId="{4E980388-A333-4E88-A31F-DF6E2A34CCF5}">
      <dgm:prSet phldrT="[Text]"/>
      <dgm:spPr/>
      <dgm:t>
        <a:bodyPr/>
        <a:lstStyle/>
        <a:p>
          <a:pPr algn="r"/>
          <a:endParaRPr lang="en-AU"/>
        </a:p>
      </dgm:t>
    </dgm:pt>
    <dgm:pt modelId="{34C1021A-D360-4278-A261-097CC20F3DDC}" type="parTrans" cxnId="{CAF52E79-FDEA-4AEA-9F76-4EE7451B163D}">
      <dgm:prSet/>
      <dgm:spPr/>
      <dgm:t>
        <a:bodyPr/>
        <a:lstStyle/>
        <a:p>
          <a:pPr algn="r"/>
          <a:endParaRPr lang="en-AU"/>
        </a:p>
      </dgm:t>
    </dgm:pt>
    <dgm:pt modelId="{9A452865-C322-40C0-8DDC-D1F9B7624FDF}" type="sibTrans" cxnId="{CAF52E79-FDEA-4AEA-9F76-4EE7451B163D}">
      <dgm:prSet/>
      <dgm:spPr/>
      <dgm:t>
        <a:bodyPr/>
        <a:lstStyle/>
        <a:p>
          <a:pPr algn="r"/>
          <a:endParaRPr lang="en-AU"/>
        </a:p>
      </dgm:t>
    </dgm:pt>
    <dgm:pt modelId="{AC53E9AE-069A-4EBA-94D2-5D67301840DB}">
      <dgm:prSet phldrT="[Text]" custT="1"/>
      <dgm:spPr/>
      <dgm:t>
        <a:bodyPr/>
        <a:lstStyle/>
        <a:p>
          <a:pPr algn="r"/>
          <a:r>
            <a:rPr lang="en-US" sz="2000" dirty="0"/>
            <a:t>2. Fuel Load Intelligence</a:t>
          </a:r>
          <a:endParaRPr lang="en-AU" sz="2000" dirty="0"/>
        </a:p>
      </dgm:t>
    </dgm:pt>
    <dgm:pt modelId="{1099E21D-B988-4AC6-B1BF-87D820D7249D}" type="parTrans" cxnId="{058D3CBF-3F97-4DE5-B987-3A8F963BB099}">
      <dgm:prSet/>
      <dgm:spPr/>
      <dgm:t>
        <a:bodyPr/>
        <a:lstStyle/>
        <a:p>
          <a:pPr algn="r"/>
          <a:endParaRPr lang="en-AU"/>
        </a:p>
      </dgm:t>
    </dgm:pt>
    <dgm:pt modelId="{B5A49100-6282-40FF-8757-4DF140EA5C7A}" type="sibTrans" cxnId="{058D3CBF-3F97-4DE5-B987-3A8F963BB099}">
      <dgm:prSet/>
      <dgm:spPr/>
      <dgm:t>
        <a:bodyPr/>
        <a:lstStyle/>
        <a:p>
          <a:pPr algn="r"/>
          <a:endParaRPr lang="en-AU"/>
        </a:p>
      </dgm:t>
    </dgm:pt>
    <dgm:pt modelId="{AC045E00-FE8E-41C8-BF21-EA38F0C2B706}">
      <dgm:prSet phldrT="[Text]" custT="1"/>
      <dgm:spPr/>
      <dgm:t>
        <a:bodyPr/>
        <a:lstStyle/>
        <a:p>
          <a:pPr algn="r"/>
          <a:r>
            <a:rPr lang="en-US" sz="2000" dirty="0"/>
            <a:t>4. Situational Awareness</a:t>
          </a:r>
          <a:endParaRPr lang="en-AU" sz="2000" dirty="0"/>
        </a:p>
      </dgm:t>
    </dgm:pt>
    <dgm:pt modelId="{543D4B6C-2FEB-4F8F-8900-E05E265920CA}" type="parTrans" cxnId="{CC9E266D-DC7A-46D7-9A47-A7301C6D24BD}">
      <dgm:prSet/>
      <dgm:spPr/>
      <dgm:t>
        <a:bodyPr/>
        <a:lstStyle/>
        <a:p>
          <a:pPr algn="r"/>
          <a:endParaRPr lang="en-AU"/>
        </a:p>
      </dgm:t>
    </dgm:pt>
    <dgm:pt modelId="{4A6EA0DF-E947-4612-9EF4-A5F8ABC32771}" type="sibTrans" cxnId="{CC9E266D-DC7A-46D7-9A47-A7301C6D24BD}">
      <dgm:prSet/>
      <dgm:spPr/>
      <dgm:t>
        <a:bodyPr/>
        <a:lstStyle/>
        <a:p>
          <a:pPr algn="r"/>
          <a:endParaRPr lang="en-AU"/>
        </a:p>
      </dgm:t>
    </dgm:pt>
    <dgm:pt modelId="{DD6B5C33-C6D9-4116-9BB5-333AE754D8EA}">
      <dgm:prSet phldrT="[Text]"/>
      <dgm:spPr/>
      <dgm:t>
        <a:bodyPr/>
        <a:lstStyle/>
        <a:p>
          <a:pPr algn="r"/>
          <a:endParaRPr lang="en-AU" dirty="0"/>
        </a:p>
      </dgm:t>
    </dgm:pt>
    <dgm:pt modelId="{9030AD22-8B81-4F95-867F-F2873B753B0D}" type="parTrans" cxnId="{D8002F86-71BB-47E1-8538-3393E99B1D51}">
      <dgm:prSet/>
      <dgm:spPr/>
      <dgm:t>
        <a:bodyPr/>
        <a:lstStyle/>
        <a:p>
          <a:pPr algn="r"/>
          <a:endParaRPr lang="en-AU"/>
        </a:p>
      </dgm:t>
    </dgm:pt>
    <dgm:pt modelId="{4C1150B1-07C1-4205-8C2F-5B6D35D519E2}" type="sibTrans" cxnId="{D8002F86-71BB-47E1-8538-3393E99B1D51}">
      <dgm:prSet/>
      <dgm:spPr/>
      <dgm:t>
        <a:bodyPr/>
        <a:lstStyle/>
        <a:p>
          <a:pPr algn="r"/>
          <a:endParaRPr lang="en-AU"/>
        </a:p>
      </dgm:t>
    </dgm:pt>
    <dgm:pt modelId="{2C477833-CB6E-4489-98A0-DCA1230AB44C}">
      <dgm:prSet phldrT="[Text]" custT="1"/>
      <dgm:spPr/>
      <dgm:t>
        <a:bodyPr/>
        <a:lstStyle/>
        <a:p>
          <a:pPr algn="r"/>
          <a:r>
            <a:rPr lang="en-US" sz="2000" dirty="0"/>
            <a:t>3. Fire Prediction</a:t>
          </a:r>
          <a:endParaRPr lang="en-AU" sz="2000" dirty="0"/>
        </a:p>
      </dgm:t>
    </dgm:pt>
    <dgm:pt modelId="{8E8298BA-B2AE-483E-A51A-ED8FE30092B1}" type="parTrans" cxnId="{6A0AF0AB-E31A-4B09-9336-AED5ACB5AD99}">
      <dgm:prSet/>
      <dgm:spPr/>
      <dgm:t>
        <a:bodyPr/>
        <a:lstStyle/>
        <a:p>
          <a:pPr algn="r"/>
          <a:endParaRPr lang="en-AU"/>
        </a:p>
      </dgm:t>
    </dgm:pt>
    <dgm:pt modelId="{0337AB37-0048-4236-B464-86EF953AAE8B}" type="sibTrans" cxnId="{6A0AF0AB-E31A-4B09-9336-AED5ACB5AD99}">
      <dgm:prSet/>
      <dgm:spPr/>
      <dgm:t>
        <a:bodyPr/>
        <a:lstStyle/>
        <a:p>
          <a:pPr algn="r"/>
          <a:endParaRPr lang="en-AU"/>
        </a:p>
      </dgm:t>
    </dgm:pt>
    <dgm:pt modelId="{34A53F59-C15B-4FAA-83A2-2826663C8423}">
      <dgm:prSet phldrT="[Text]"/>
      <dgm:spPr/>
      <dgm:t>
        <a:bodyPr/>
        <a:lstStyle/>
        <a:p>
          <a:pPr algn="r"/>
          <a:endParaRPr lang="en-AU"/>
        </a:p>
      </dgm:t>
    </dgm:pt>
    <dgm:pt modelId="{78CE8612-A095-4728-AC57-94528EB8BEB7}" type="parTrans" cxnId="{334E3BE9-14DD-41E1-9D9D-C95ABF47A1DB}">
      <dgm:prSet/>
      <dgm:spPr/>
      <dgm:t>
        <a:bodyPr/>
        <a:lstStyle/>
        <a:p>
          <a:pPr algn="r"/>
          <a:endParaRPr lang="en-AU"/>
        </a:p>
      </dgm:t>
    </dgm:pt>
    <dgm:pt modelId="{58DD163B-A348-4F6B-AC6D-7B43BCE8CDED}" type="sibTrans" cxnId="{334E3BE9-14DD-41E1-9D9D-C95ABF47A1DB}">
      <dgm:prSet/>
      <dgm:spPr/>
      <dgm:t>
        <a:bodyPr/>
        <a:lstStyle/>
        <a:p>
          <a:pPr algn="r"/>
          <a:endParaRPr lang="en-AU"/>
        </a:p>
      </dgm:t>
    </dgm:pt>
    <dgm:pt modelId="{3AD01DD7-5386-4F8D-8958-0DA742C5D829}">
      <dgm:prSet phldrT="[Text]"/>
      <dgm:spPr/>
      <dgm:t>
        <a:bodyPr/>
        <a:lstStyle/>
        <a:p>
          <a:pPr algn="r"/>
          <a:endParaRPr lang="en-AU"/>
        </a:p>
      </dgm:t>
    </dgm:pt>
    <dgm:pt modelId="{85BB4D7C-32CD-4868-8CAB-6767D1816AA3}" type="sibTrans" cxnId="{539B9D8F-8497-434B-99C9-9CB5048E8548}">
      <dgm:prSet/>
      <dgm:spPr/>
      <dgm:t>
        <a:bodyPr/>
        <a:lstStyle/>
        <a:p>
          <a:pPr algn="r"/>
          <a:endParaRPr lang="en-AU"/>
        </a:p>
      </dgm:t>
    </dgm:pt>
    <dgm:pt modelId="{B3F738DA-EE5D-4020-BBA8-484534236D8D}" type="parTrans" cxnId="{539B9D8F-8497-434B-99C9-9CB5048E8548}">
      <dgm:prSet/>
      <dgm:spPr/>
      <dgm:t>
        <a:bodyPr/>
        <a:lstStyle/>
        <a:p>
          <a:pPr algn="r"/>
          <a:endParaRPr lang="en-AU"/>
        </a:p>
      </dgm:t>
    </dgm:pt>
    <dgm:pt modelId="{D7DEB8E0-FFC3-434F-8BD3-5BBA99686C26}" type="pres">
      <dgm:prSet presAssocID="{A2FC98A7-992A-489B-9695-7487ABAF42F9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F89BB3A8-B923-468C-84BA-F2F2245E39EE}" type="pres">
      <dgm:prSet presAssocID="{A2FC98A7-992A-489B-9695-7487ABAF42F9}" presName="children" presStyleCnt="0"/>
      <dgm:spPr/>
    </dgm:pt>
    <dgm:pt modelId="{EBB29188-8E39-4806-9BBB-85BDF33D2216}" type="pres">
      <dgm:prSet presAssocID="{A2FC98A7-992A-489B-9695-7487ABAF42F9}" presName="child1group" presStyleCnt="0"/>
      <dgm:spPr/>
    </dgm:pt>
    <dgm:pt modelId="{069148C9-3C7C-4876-95D3-4CAE369E96D3}" type="pres">
      <dgm:prSet presAssocID="{A2FC98A7-992A-489B-9695-7487ABAF42F9}" presName="child1" presStyleLbl="bgAcc1" presStyleIdx="0" presStyleCnt="4" custScaleX="111132" custScaleY="120756" custLinFactNeighborX="-2471" custLinFactNeighborY="2104"/>
      <dgm:spPr/>
    </dgm:pt>
    <dgm:pt modelId="{8AB3B1D9-09B5-4875-9524-3200D60FB134}" type="pres">
      <dgm:prSet presAssocID="{A2FC98A7-992A-489B-9695-7487ABAF42F9}" presName="child1Text" presStyleLbl="bgAcc1" presStyleIdx="0" presStyleCnt="4">
        <dgm:presLayoutVars>
          <dgm:bulletEnabled val="1"/>
        </dgm:presLayoutVars>
      </dgm:prSet>
      <dgm:spPr/>
    </dgm:pt>
    <dgm:pt modelId="{1BE74A68-ED1A-4E3A-99DE-35F124C2186A}" type="pres">
      <dgm:prSet presAssocID="{A2FC98A7-992A-489B-9695-7487ABAF42F9}" presName="child2group" presStyleCnt="0"/>
      <dgm:spPr/>
    </dgm:pt>
    <dgm:pt modelId="{5752A3B9-7DB2-416F-88AC-8F569711B4CD}" type="pres">
      <dgm:prSet presAssocID="{A2FC98A7-992A-489B-9695-7487ABAF42F9}" presName="child2" presStyleLbl="bgAcc1" presStyleIdx="1" presStyleCnt="4" custScaleX="115264" custScaleY="119557" custLinFactNeighborX="8885" custLinFactNeighborY="1328"/>
      <dgm:spPr/>
    </dgm:pt>
    <dgm:pt modelId="{C8F67261-4B79-4BEA-AB46-F620ED47DA53}" type="pres">
      <dgm:prSet presAssocID="{A2FC98A7-992A-489B-9695-7487ABAF42F9}" presName="child2Text" presStyleLbl="bgAcc1" presStyleIdx="1" presStyleCnt="4">
        <dgm:presLayoutVars>
          <dgm:bulletEnabled val="1"/>
        </dgm:presLayoutVars>
      </dgm:prSet>
      <dgm:spPr/>
    </dgm:pt>
    <dgm:pt modelId="{B6971B5B-AD45-4049-8404-6777CFBA05DA}" type="pres">
      <dgm:prSet presAssocID="{A2FC98A7-992A-489B-9695-7487ABAF42F9}" presName="child3group" presStyleCnt="0"/>
      <dgm:spPr/>
    </dgm:pt>
    <dgm:pt modelId="{1AD814D9-CD14-4445-9200-6CC51721BAF7}" type="pres">
      <dgm:prSet presAssocID="{A2FC98A7-992A-489B-9695-7487ABAF42F9}" presName="child3" presStyleLbl="bgAcc1" presStyleIdx="2" presStyleCnt="4" custScaleX="112676" custScaleY="120755" custLinFactNeighborX="9787" custLinFactNeighborY="-1824"/>
      <dgm:spPr/>
    </dgm:pt>
    <dgm:pt modelId="{2E5DEBF6-0E68-4EEA-9176-90C9878C4D0E}" type="pres">
      <dgm:prSet presAssocID="{A2FC98A7-992A-489B-9695-7487ABAF42F9}" presName="child3Text" presStyleLbl="bgAcc1" presStyleIdx="2" presStyleCnt="4">
        <dgm:presLayoutVars>
          <dgm:bulletEnabled val="1"/>
        </dgm:presLayoutVars>
      </dgm:prSet>
      <dgm:spPr/>
    </dgm:pt>
    <dgm:pt modelId="{F1C159E3-E3CB-47C4-A003-1680974616E1}" type="pres">
      <dgm:prSet presAssocID="{A2FC98A7-992A-489B-9695-7487ABAF42F9}" presName="child4group" presStyleCnt="0"/>
      <dgm:spPr/>
    </dgm:pt>
    <dgm:pt modelId="{DAC53148-C5E2-46CC-B3FF-A0ABA0111AEF}" type="pres">
      <dgm:prSet presAssocID="{A2FC98A7-992A-489B-9695-7487ABAF42F9}" presName="child4" presStyleLbl="bgAcc1" presStyleIdx="3" presStyleCnt="4" custScaleX="112616" custScaleY="114855" custLinFactNeighborX="-4121" custLinFactNeighborY="-654"/>
      <dgm:spPr/>
    </dgm:pt>
    <dgm:pt modelId="{8BDE9A21-29BC-469F-A111-A5C6E3472D2D}" type="pres">
      <dgm:prSet presAssocID="{A2FC98A7-992A-489B-9695-7487ABAF42F9}" presName="child4Text" presStyleLbl="bgAcc1" presStyleIdx="3" presStyleCnt="4">
        <dgm:presLayoutVars>
          <dgm:bulletEnabled val="1"/>
        </dgm:presLayoutVars>
      </dgm:prSet>
      <dgm:spPr/>
    </dgm:pt>
    <dgm:pt modelId="{8D3A976A-8985-4618-9E7B-EC0D80C8A5FA}" type="pres">
      <dgm:prSet presAssocID="{A2FC98A7-992A-489B-9695-7487ABAF42F9}" presName="childPlaceholder" presStyleCnt="0"/>
      <dgm:spPr/>
    </dgm:pt>
    <dgm:pt modelId="{07D86402-C9D7-47CB-A23B-715EE7065C83}" type="pres">
      <dgm:prSet presAssocID="{A2FC98A7-992A-489B-9695-7487ABAF42F9}" presName="circle" presStyleCnt="0"/>
      <dgm:spPr/>
    </dgm:pt>
    <dgm:pt modelId="{79CFCA08-181D-4C4F-8961-3A6D6F8CA2FF}" type="pres">
      <dgm:prSet presAssocID="{A2FC98A7-992A-489B-9695-7487ABAF42F9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FF88866F-4DAE-453A-991D-37E2E22D6E38}" type="pres">
      <dgm:prSet presAssocID="{A2FC98A7-992A-489B-9695-7487ABAF42F9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B20DDF5-37A7-4D96-99A4-65A34863A8D7}" type="pres">
      <dgm:prSet presAssocID="{A2FC98A7-992A-489B-9695-7487ABAF42F9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BE1FFB85-3C38-47B7-A1B5-999182ACEEB0}" type="pres">
      <dgm:prSet presAssocID="{A2FC98A7-992A-489B-9695-7487ABAF42F9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57F46BCD-47BD-4B9A-874B-FA6FFE5A9928}" type="pres">
      <dgm:prSet presAssocID="{A2FC98A7-992A-489B-9695-7487ABAF42F9}" presName="quadrantPlaceholder" presStyleCnt="0"/>
      <dgm:spPr/>
    </dgm:pt>
    <dgm:pt modelId="{A6FFE86A-2CC1-4A16-B7BD-982A5DF87F5D}" type="pres">
      <dgm:prSet presAssocID="{A2FC98A7-992A-489B-9695-7487ABAF42F9}" presName="center1" presStyleLbl="fgShp" presStyleIdx="0" presStyleCnt="2"/>
      <dgm:spPr/>
    </dgm:pt>
    <dgm:pt modelId="{233684B9-D20E-4B29-9D08-653D43F446A9}" type="pres">
      <dgm:prSet presAssocID="{A2FC98A7-992A-489B-9695-7487ABAF42F9}" presName="center2" presStyleLbl="fgShp" presStyleIdx="1" presStyleCnt="2"/>
      <dgm:spPr/>
    </dgm:pt>
  </dgm:ptLst>
  <dgm:cxnLst>
    <dgm:cxn modelId="{1C1AC133-DFA4-4F1A-A013-77C3EF72AA53}" type="presOf" srcId="{A2FC98A7-992A-489B-9695-7487ABAF42F9}" destId="{D7DEB8E0-FFC3-434F-8BD3-5BBA99686C26}" srcOrd="0" destOrd="0" presId="urn:microsoft.com/office/officeart/2005/8/layout/cycle4"/>
    <dgm:cxn modelId="{3F818835-1FDD-48DC-872D-6C6C17AEA4CA}" type="presOf" srcId="{DD6B5C33-C6D9-4116-9BB5-333AE754D8EA}" destId="{2E5DEBF6-0E68-4EEA-9176-90C9878C4D0E}" srcOrd="1" destOrd="0" presId="urn:microsoft.com/office/officeart/2005/8/layout/cycle4"/>
    <dgm:cxn modelId="{0E175E61-CDC2-49A7-A775-EE497D02C488}" type="presOf" srcId="{3AD01DD7-5386-4F8D-8958-0DA742C5D829}" destId="{C8F67261-4B79-4BEA-AB46-F620ED47DA53}" srcOrd="1" destOrd="0" presId="urn:microsoft.com/office/officeart/2005/8/layout/cycle4"/>
    <dgm:cxn modelId="{38B76043-304F-4E5D-8E23-565860F6FBC1}" srcId="{A2FC98A7-992A-489B-9695-7487ABAF42F9}" destId="{C5DCFB4D-AAA9-4850-BC51-DD4D7008E397}" srcOrd="0" destOrd="0" parTransId="{F1D1ED4F-AEB4-4283-A0EF-AD65CAD83236}" sibTransId="{EEE94CEC-ACE5-43EC-A5C8-9940F160EC3E}"/>
    <dgm:cxn modelId="{0C425D45-AF70-4399-AD0A-1F92F12563E9}" type="presOf" srcId="{34A53F59-C15B-4FAA-83A2-2826663C8423}" destId="{DAC53148-C5E2-46CC-B3FF-A0ABA0111AEF}" srcOrd="0" destOrd="0" presId="urn:microsoft.com/office/officeart/2005/8/layout/cycle4"/>
    <dgm:cxn modelId="{4FB9A166-639F-4B4B-943F-23D54728B5D5}" type="presOf" srcId="{2C477833-CB6E-4489-98A0-DCA1230AB44C}" destId="{BE1FFB85-3C38-47B7-A1B5-999182ACEEB0}" srcOrd="0" destOrd="0" presId="urn:microsoft.com/office/officeart/2005/8/layout/cycle4"/>
    <dgm:cxn modelId="{CC9E266D-DC7A-46D7-9A47-A7301C6D24BD}" srcId="{A2FC98A7-992A-489B-9695-7487ABAF42F9}" destId="{AC045E00-FE8E-41C8-BF21-EA38F0C2B706}" srcOrd="2" destOrd="0" parTransId="{543D4B6C-2FEB-4F8F-8900-E05E265920CA}" sibTransId="{4A6EA0DF-E947-4612-9EF4-A5F8ABC32771}"/>
    <dgm:cxn modelId="{0D0E886D-5792-4A9F-8212-D1439284E543}" type="presOf" srcId="{AC53E9AE-069A-4EBA-94D2-5D67301840DB}" destId="{FF88866F-4DAE-453A-991D-37E2E22D6E38}" srcOrd="0" destOrd="0" presId="urn:microsoft.com/office/officeart/2005/8/layout/cycle4"/>
    <dgm:cxn modelId="{CAF52E79-FDEA-4AEA-9F76-4EE7451B163D}" srcId="{C5DCFB4D-AAA9-4850-BC51-DD4D7008E397}" destId="{4E980388-A333-4E88-A31F-DF6E2A34CCF5}" srcOrd="0" destOrd="0" parTransId="{34C1021A-D360-4278-A261-097CC20F3DDC}" sibTransId="{9A452865-C322-40C0-8DDC-D1F9B7624FDF}"/>
    <dgm:cxn modelId="{FE2A5B80-F08B-41AD-B730-B7A26E270F79}" type="presOf" srcId="{3AD01DD7-5386-4F8D-8958-0DA742C5D829}" destId="{5752A3B9-7DB2-416F-88AC-8F569711B4CD}" srcOrd="0" destOrd="0" presId="urn:microsoft.com/office/officeart/2005/8/layout/cycle4"/>
    <dgm:cxn modelId="{A9C58C82-2B52-4054-9DBA-7A551F0D814B}" type="presOf" srcId="{4E980388-A333-4E88-A31F-DF6E2A34CCF5}" destId="{8AB3B1D9-09B5-4875-9524-3200D60FB134}" srcOrd="1" destOrd="0" presId="urn:microsoft.com/office/officeart/2005/8/layout/cycle4"/>
    <dgm:cxn modelId="{D8002F86-71BB-47E1-8538-3393E99B1D51}" srcId="{AC045E00-FE8E-41C8-BF21-EA38F0C2B706}" destId="{DD6B5C33-C6D9-4116-9BB5-333AE754D8EA}" srcOrd="0" destOrd="0" parTransId="{9030AD22-8B81-4F95-867F-F2873B753B0D}" sibTransId="{4C1150B1-07C1-4205-8C2F-5B6D35D519E2}"/>
    <dgm:cxn modelId="{5528EB86-B12A-4809-BC78-66FECC68AFD5}" type="presOf" srcId="{C5DCFB4D-AAA9-4850-BC51-DD4D7008E397}" destId="{79CFCA08-181D-4C4F-8961-3A6D6F8CA2FF}" srcOrd="0" destOrd="0" presId="urn:microsoft.com/office/officeart/2005/8/layout/cycle4"/>
    <dgm:cxn modelId="{4F6EFC88-580B-4142-8ED4-8C792AB34BC2}" type="presOf" srcId="{34A53F59-C15B-4FAA-83A2-2826663C8423}" destId="{8BDE9A21-29BC-469F-A111-A5C6E3472D2D}" srcOrd="1" destOrd="0" presId="urn:microsoft.com/office/officeart/2005/8/layout/cycle4"/>
    <dgm:cxn modelId="{539B9D8F-8497-434B-99C9-9CB5048E8548}" srcId="{AC53E9AE-069A-4EBA-94D2-5D67301840DB}" destId="{3AD01DD7-5386-4F8D-8958-0DA742C5D829}" srcOrd="0" destOrd="0" parTransId="{B3F738DA-EE5D-4020-BBA8-484534236D8D}" sibTransId="{85BB4D7C-32CD-4868-8CAB-6767D1816AA3}"/>
    <dgm:cxn modelId="{85EEC590-1B0F-4664-8BE8-175070DC671A}" type="presOf" srcId="{AC045E00-FE8E-41C8-BF21-EA38F0C2B706}" destId="{8B20DDF5-37A7-4D96-99A4-65A34863A8D7}" srcOrd="0" destOrd="0" presId="urn:microsoft.com/office/officeart/2005/8/layout/cycle4"/>
    <dgm:cxn modelId="{6A0AF0AB-E31A-4B09-9336-AED5ACB5AD99}" srcId="{A2FC98A7-992A-489B-9695-7487ABAF42F9}" destId="{2C477833-CB6E-4489-98A0-DCA1230AB44C}" srcOrd="3" destOrd="0" parTransId="{8E8298BA-B2AE-483E-A51A-ED8FE30092B1}" sibTransId="{0337AB37-0048-4236-B464-86EF953AAE8B}"/>
    <dgm:cxn modelId="{7EC244B5-DBD5-4D31-A44B-235D6C2629CD}" type="presOf" srcId="{DD6B5C33-C6D9-4116-9BB5-333AE754D8EA}" destId="{1AD814D9-CD14-4445-9200-6CC51721BAF7}" srcOrd="0" destOrd="0" presId="urn:microsoft.com/office/officeart/2005/8/layout/cycle4"/>
    <dgm:cxn modelId="{058D3CBF-3F97-4DE5-B987-3A8F963BB099}" srcId="{A2FC98A7-992A-489B-9695-7487ABAF42F9}" destId="{AC53E9AE-069A-4EBA-94D2-5D67301840DB}" srcOrd="1" destOrd="0" parTransId="{1099E21D-B988-4AC6-B1BF-87D820D7249D}" sibTransId="{B5A49100-6282-40FF-8757-4DF140EA5C7A}"/>
    <dgm:cxn modelId="{334E3BE9-14DD-41E1-9D9D-C95ABF47A1DB}" srcId="{2C477833-CB6E-4489-98A0-DCA1230AB44C}" destId="{34A53F59-C15B-4FAA-83A2-2826663C8423}" srcOrd="0" destOrd="0" parTransId="{78CE8612-A095-4728-AC57-94528EB8BEB7}" sibTransId="{58DD163B-A348-4F6B-AC6D-7B43BCE8CDED}"/>
    <dgm:cxn modelId="{6C6319ED-DC00-49C8-9E90-C01188A3BD9E}" type="presOf" srcId="{4E980388-A333-4E88-A31F-DF6E2A34CCF5}" destId="{069148C9-3C7C-4876-95D3-4CAE369E96D3}" srcOrd="0" destOrd="0" presId="urn:microsoft.com/office/officeart/2005/8/layout/cycle4"/>
    <dgm:cxn modelId="{0D6AF277-0262-44E6-B43F-B21B19C30002}" type="presParOf" srcId="{D7DEB8E0-FFC3-434F-8BD3-5BBA99686C26}" destId="{F89BB3A8-B923-468C-84BA-F2F2245E39EE}" srcOrd="0" destOrd="0" presId="urn:microsoft.com/office/officeart/2005/8/layout/cycle4"/>
    <dgm:cxn modelId="{EC5E2978-9D9F-4A10-B9AD-4D9C62814721}" type="presParOf" srcId="{F89BB3A8-B923-468C-84BA-F2F2245E39EE}" destId="{EBB29188-8E39-4806-9BBB-85BDF33D2216}" srcOrd="0" destOrd="0" presId="urn:microsoft.com/office/officeart/2005/8/layout/cycle4"/>
    <dgm:cxn modelId="{669C087F-F77E-4C84-A3FB-D54504DCE809}" type="presParOf" srcId="{EBB29188-8E39-4806-9BBB-85BDF33D2216}" destId="{069148C9-3C7C-4876-95D3-4CAE369E96D3}" srcOrd="0" destOrd="0" presId="urn:microsoft.com/office/officeart/2005/8/layout/cycle4"/>
    <dgm:cxn modelId="{4E2923D3-C87E-46FE-AF9F-86A9A391942D}" type="presParOf" srcId="{EBB29188-8E39-4806-9BBB-85BDF33D2216}" destId="{8AB3B1D9-09B5-4875-9524-3200D60FB134}" srcOrd="1" destOrd="0" presId="urn:microsoft.com/office/officeart/2005/8/layout/cycle4"/>
    <dgm:cxn modelId="{F4FCB236-416F-4476-A75F-85404CDA254F}" type="presParOf" srcId="{F89BB3A8-B923-468C-84BA-F2F2245E39EE}" destId="{1BE74A68-ED1A-4E3A-99DE-35F124C2186A}" srcOrd="1" destOrd="0" presId="urn:microsoft.com/office/officeart/2005/8/layout/cycle4"/>
    <dgm:cxn modelId="{A4C9D74C-CAC2-4A74-A6A3-3E7065815EFE}" type="presParOf" srcId="{1BE74A68-ED1A-4E3A-99DE-35F124C2186A}" destId="{5752A3B9-7DB2-416F-88AC-8F569711B4CD}" srcOrd="0" destOrd="0" presId="urn:microsoft.com/office/officeart/2005/8/layout/cycle4"/>
    <dgm:cxn modelId="{6B8D8591-6F47-4F09-87E8-C2E17DCD076B}" type="presParOf" srcId="{1BE74A68-ED1A-4E3A-99DE-35F124C2186A}" destId="{C8F67261-4B79-4BEA-AB46-F620ED47DA53}" srcOrd="1" destOrd="0" presId="urn:microsoft.com/office/officeart/2005/8/layout/cycle4"/>
    <dgm:cxn modelId="{E5F7AB27-D0C9-4E78-AC0E-1688DC0DD226}" type="presParOf" srcId="{F89BB3A8-B923-468C-84BA-F2F2245E39EE}" destId="{B6971B5B-AD45-4049-8404-6777CFBA05DA}" srcOrd="2" destOrd="0" presId="urn:microsoft.com/office/officeart/2005/8/layout/cycle4"/>
    <dgm:cxn modelId="{CC02E5DF-41EA-40A8-AF9E-3D4B667D60CE}" type="presParOf" srcId="{B6971B5B-AD45-4049-8404-6777CFBA05DA}" destId="{1AD814D9-CD14-4445-9200-6CC51721BAF7}" srcOrd="0" destOrd="0" presId="urn:microsoft.com/office/officeart/2005/8/layout/cycle4"/>
    <dgm:cxn modelId="{895B82D7-5F3F-4C0C-BE4F-2E8F644FE331}" type="presParOf" srcId="{B6971B5B-AD45-4049-8404-6777CFBA05DA}" destId="{2E5DEBF6-0E68-4EEA-9176-90C9878C4D0E}" srcOrd="1" destOrd="0" presId="urn:microsoft.com/office/officeart/2005/8/layout/cycle4"/>
    <dgm:cxn modelId="{C32560CB-72D8-4455-BA37-748F752AE9A1}" type="presParOf" srcId="{F89BB3A8-B923-468C-84BA-F2F2245E39EE}" destId="{F1C159E3-E3CB-47C4-A003-1680974616E1}" srcOrd="3" destOrd="0" presId="urn:microsoft.com/office/officeart/2005/8/layout/cycle4"/>
    <dgm:cxn modelId="{B214C4D5-8BDF-4F8F-8447-25A9C9DB39E5}" type="presParOf" srcId="{F1C159E3-E3CB-47C4-A003-1680974616E1}" destId="{DAC53148-C5E2-46CC-B3FF-A0ABA0111AEF}" srcOrd="0" destOrd="0" presId="urn:microsoft.com/office/officeart/2005/8/layout/cycle4"/>
    <dgm:cxn modelId="{209F435F-7131-4FEE-B081-C36932BD9AF0}" type="presParOf" srcId="{F1C159E3-E3CB-47C4-A003-1680974616E1}" destId="{8BDE9A21-29BC-469F-A111-A5C6E3472D2D}" srcOrd="1" destOrd="0" presId="urn:microsoft.com/office/officeart/2005/8/layout/cycle4"/>
    <dgm:cxn modelId="{5F6C2B65-A5CE-4635-B76C-D111ECDFB92D}" type="presParOf" srcId="{F89BB3A8-B923-468C-84BA-F2F2245E39EE}" destId="{8D3A976A-8985-4618-9E7B-EC0D80C8A5FA}" srcOrd="4" destOrd="0" presId="urn:microsoft.com/office/officeart/2005/8/layout/cycle4"/>
    <dgm:cxn modelId="{A0A2C9AA-BF11-4D54-B42E-68688A80D21A}" type="presParOf" srcId="{D7DEB8E0-FFC3-434F-8BD3-5BBA99686C26}" destId="{07D86402-C9D7-47CB-A23B-715EE7065C83}" srcOrd="1" destOrd="0" presId="urn:microsoft.com/office/officeart/2005/8/layout/cycle4"/>
    <dgm:cxn modelId="{017C79ED-1F0D-45D8-BD69-0BA902462D01}" type="presParOf" srcId="{07D86402-C9D7-47CB-A23B-715EE7065C83}" destId="{79CFCA08-181D-4C4F-8961-3A6D6F8CA2FF}" srcOrd="0" destOrd="0" presId="urn:microsoft.com/office/officeart/2005/8/layout/cycle4"/>
    <dgm:cxn modelId="{8BC218C2-7A7A-4434-A84C-7C7E18EF2469}" type="presParOf" srcId="{07D86402-C9D7-47CB-A23B-715EE7065C83}" destId="{FF88866F-4DAE-453A-991D-37E2E22D6E38}" srcOrd="1" destOrd="0" presId="urn:microsoft.com/office/officeart/2005/8/layout/cycle4"/>
    <dgm:cxn modelId="{5BC32E1F-7C22-4B3D-AB48-58716296DD75}" type="presParOf" srcId="{07D86402-C9D7-47CB-A23B-715EE7065C83}" destId="{8B20DDF5-37A7-4D96-99A4-65A34863A8D7}" srcOrd="2" destOrd="0" presId="urn:microsoft.com/office/officeart/2005/8/layout/cycle4"/>
    <dgm:cxn modelId="{BFFEE58A-D694-4C4B-98A1-085334290CAA}" type="presParOf" srcId="{07D86402-C9D7-47CB-A23B-715EE7065C83}" destId="{BE1FFB85-3C38-47B7-A1B5-999182ACEEB0}" srcOrd="3" destOrd="0" presId="urn:microsoft.com/office/officeart/2005/8/layout/cycle4"/>
    <dgm:cxn modelId="{25A701A7-8772-4807-A3E5-3F079D4566C1}" type="presParOf" srcId="{07D86402-C9D7-47CB-A23B-715EE7065C83}" destId="{57F46BCD-47BD-4B9A-874B-FA6FFE5A9928}" srcOrd="4" destOrd="0" presId="urn:microsoft.com/office/officeart/2005/8/layout/cycle4"/>
    <dgm:cxn modelId="{90979142-29BC-4FAD-81E0-42A517E4BA74}" type="presParOf" srcId="{D7DEB8E0-FFC3-434F-8BD3-5BBA99686C26}" destId="{A6FFE86A-2CC1-4A16-B7BD-982A5DF87F5D}" srcOrd="2" destOrd="0" presId="urn:microsoft.com/office/officeart/2005/8/layout/cycle4"/>
    <dgm:cxn modelId="{5915576E-EB1F-407E-B6D7-F9FD5AAD490B}" type="presParOf" srcId="{D7DEB8E0-FFC3-434F-8BD3-5BBA99686C26}" destId="{233684B9-D20E-4B29-9D08-653D43F446A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D814D9-CD14-4445-9200-6CC51721BAF7}">
      <dsp:nvSpPr>
        <dsp:cNvPr id="0" name=""/>
        <dsp:cNvSpPr/>
      </dsp:nvSpPr>
      <dsp:spPr>
        <a:xfrm>
          <a:off x="6420973" y="3556623"/>
          <a:ext cx="3088643" cy="214419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320943"/>
              <a:satOff val="6777"/>
              <a:lumOff val="1805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285750" lvl="1" indent="-285750" algn="r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AU" sz="5100" kern="1200" dirty="0"/>
        </a:p>
      </dsp:txBody>
      <dsp:txXfrm>
        <a:off x="7394667" y="4139773"/>
        <a:ext cx="2067848" cy="1513944"/>
      </dsp:txXfrm>
    </dsp:sp>
    <dsp:sp modelId="{DAC53148-C5E2-46CC-B3FF-A0ABA0111AEF}">
      <dsp:nvSpPr>
        <dsp:cNvPr id="0" name=""/>
        <dsp:cNvSpPr/>
      </dsp:nvSpPr>
      <dsp:spPr>
        <a:xfrm>
          <a:off x="1568114" y="3629780"/>
          <a:ext cx="3086998" cy="20394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481415"/>
              <a:satOff val="10166"/>
              <a:lumOff val="270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285750" lvl="1" indent="-285750" algn="r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AU" sz="5100" kern="1200"/>
        </a:p>
      </dsp:txBody>
      <dsp:txXfrm>
        <a:off x="1612914" y="4184438"/>
        <a:ext cx="2071298" cy="1439974"/>
      </dsp:txXfrm>
    </dsp:sp>
    <dsp:sp modelId="{5752A3B9-7DB2-416F-88AC-8F569711B4CD}">
      <dsp:nvSpPr>
        <dsp:cNvPr id="0" name=""/>
        <dsp:cNvSpPr/>
      </dsp:nvSpPr>
      <dsp:spPr>
        <a:xfrm>
          <a:off x="6360777" y="-150045"/>
          <a:ext cx="3159584" cy="212292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-160472"/>
              <a:satOff val="3389"/>
              <a:lumOff val="902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285750" lvl="1" indent="-285750" algn="r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AU" sz="5100" kern="1200"/>
        </a:p>
      </dsp:txBody>
      <dsp:txXfrm>
        <a:off x="7355286" y="-103411"/>
        <a:ext cx="2118441" cy="1498924"/>
      </dsp:txXfrm>
    </dsp:sp>
    <dsp:sp modelId="{069148C9-3C7C-4876-95D3-4CAE369E96D3}">
      <dsp:nvSpPr>
        <dsp:cNvPr id="0" name=""/>
        <dsp:cNvSpPr/>
      </dsp:nvSpPr>
      <dsp:spPr>
        <a:xfrm>
          <a:off x="1633683" y="-146911"/>
          <a:ext cx="3046319" cy="214421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285750" lvl="1" indent="-285750" algn="r" defTabSz="2266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AU" sz="5100" kern="1200"/>
        </a:p>
      </dsp:txBody>
      <dsp:txXfrm>
        <a:off x="1680784" y="-99810"/>
        <a:ext cx="2038221" cy="1513958"/>
      </dsp:txXfrm>
    </dsp:sp>
    <dsp:sp modelId="{79CFCA08-181D-4C4F-8961-3A6D6F8CA2FF}">
      <dsp:nvSpPr>
        <dsp:cNvPr id="0" name=""/>
        <dsp:cNvSpPr/>
      </dsp:nvSpPr>
      <dsp:spPr>
        <a:xfrm>
          <a:off x="3020766" y="316291"/>
          <a:ext cx="2402687" cy="2402687"/>
        </a:xfrm>
        <a:prstGeom prst="pieWedg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1. Early Fire Detection</a:t>
          </a:r>
          <a:endParaRPr lang="en-AU" sz="2000" kern="1200" dirty="0"/>
        </a:p>
      </dsp:txBody>
      <dsp:txXfrm>
        <a:off x="3724497" y="1020022"/>
        <a:ext cx="1698956" cy="1698956"/>
      </dsp:txXfrm>
    </dsp:sp>
    <dsp:sp modelId="{FF88866F-4DAE-453A-991D-37E2E22D6E38}">
      <dsp:nvSpPr>
        <dsp:cNvPr id="0" name=""/>
        <dsp:cNvSpPr/>
      </dsp:nvSpPr>
      <dsp:spPr>
        <a:xfrm rot="5400000">
          <a:off x="5534432" y="316291"/>
          <a:ext cx="2402687" cy="2402687"/>
        </a:xfrm>
        <a:prstGeom prst="pieWedge">
          <a:avLst/>
        </a:prstGeom>
        <a:solidFill>
          <a:schemeClr val="accent2">
            <a:shade val="80000"/>
            <a:hueOff val="-160472"/>
            <a:satOff val="3389"/>
            <a:lumOff val="902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. Fuel Load Intelligence</a:t>
          </a:r>
          <a:endParaRPr lang="en-AU" sz="2000" kern="1200" dirty="0"/>
        </a:p>
      </dsp:txBody>
      <dsp:txXfrm rot="-5400000">
        <a:off x="5534432" y="1020022"/>
        <a:ext cx="1698956" cy="1698956"/>
      </dsp:txXfrm>
    </dsp:sp>
    <dsp:sp modelId="{8B20DDF5-37A7-4D96-99A4-65A34863A8D7}">
      <dsp:nvSpPr>
        <dsp:cNvPr id="0" name=""/>
        <dsp:cNvSpPr/>
      </dsp:nvSpPr>
      <dsp:spPr>
        <a:xfrm rot="10800000">
          <a:off x="5534432" y="2829957"/>
          <a:ext cx="2402687" cy="2402687"/>
        </a:xfrm>
        <a:prstGeom prst="pieWedge">
          <a:avLst/>
        </a:prstGeom>
        <a:solidFill>
          <a:schemeClr val="accent2">
            <a:shade val="80000"/>
            <a:hueOff val="-320943"/>
            <a:satOff val="6777"/>
            <a:lumOff val="1805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4. Situational Awareness</a:t>
          </a:r>
          <a:endParaRPr lang="en-AU" sz="2000" kern="1200" dirty="0"/>
        </a:p>
      </dsp:txBody>
      <dsp:txXfrm rot="10800000">
        <a:off x="5534432" y="2829957"/>
        <a:ext cx="1698956" cy="1698956"/>
      </dsp:txXfrm>
    </dsp:sp>
    <dsp:sp modelId="{BE1FFB85-3C38-47B7-A1B5-999182ACEEB0}">
      <dsp:nvSpPr>
        <dsp:cNvPr id="0" name=""/>
        <dsp:cNvSpPr/>
      </dsp:nvSpPr>
      <dsp:spPr>
        <a:xfrm rot="16200000">
          <a:off x="3020766" y="2829957"/>
          <a:ext cx="2402687" cy="2402687"/>
        </a:xfrm>
        <a:prstGeom prst="pieWedge">
          <a:avLst/>
        </a:prstGeom>
        <a:solidFill>
          <a:schemeClr val="accent2">
            <a:shade val="80000"/>
            <a:hueOff val="-481415"/>
            <a:satOff val="10166"/>
            <a:lumOff val="2708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3. Fire Prediction</a:t>
          </a:r>
          <a:endParaRPr lang="en-AU" sz="2000" kern="1200" dirty="0"/>
        </a:p>
      </dsp:txBody>
      <dsp:txXfrm rot="5400000">
        <a:off x="3724497" y="2829957"/>
        <a:ext cx="1698956" cy="1698956"/>
      </dsp:txXfrm>
    </dsp:sp>
    <dsp:sp modelId="{A6FFE86A-2CC1-4A16-B7BD-982A5DF87F5D}">
      <dsp:nvSpPr>
        <dsp:cNvPr id="0" name=""/>
        <dsp:cNvSpPr/>
      </dsp:nvSpPr>
      <dsp:spPr>
        <a:xfrm>
          <a:off x="5064160" y="2275064"/>
          <a:ext cx="829565" cy="721361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3684B9-D20E-4B29-9D08-653D43F446A9}">
      <dsp:nvSpPr>
        <dsp:cNvPr id="0" name=""/>
        <dsp:cNvSpPr/>
      </dsp:nvSpPr>
      <dsp:spPr>
        <a:xfrm rot="10800000">
          <a:off x="5064160" y="2552510"/>
          <a:ext cx="829565" cy="721361"/>
        </a:xfrm>
        <a:prstGeom prst="circular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183" cy="502676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0799" y="0"/>
            <a:ext cx="2984183" cy="502676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r">
              <a:defRPr sz="1300"/>
            </a:lvl1pPr>
          </a:lstStyle>
          <a:p>
            <a:fld id="{D8030ECD-7CAB-4DDD-9BB1-20111FE4B9C0}" type="datetimeFigureOut">
              <a:rPr lang="en-US"/>
              <a:t>4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10275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97" tIns="48299" rIns="96597" bIns="482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658" y="4821506"/>
            <a:ext cx="5509260" cy="3944868"/>
          </a:xfrm>
          <a:prstGeom prst="rect">
            <a:avLst/>
          </a:prstGeom>
        </p:spPr>
        <p:txBody>
          <a:bodyPr vert="horz" lIns="96597" tIns="48299" rIns="96597" bIns="4829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6040"/>
            <a:ext cx="2984183" cy="502674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0799" y="9516040"/>
            <a:ext cx="2984183" cy="502674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r">
              <a:defRPr sz="1300"/>
            </a:lvl1pPr>
          </a:lstStyle>
          <a:p>
            <a:fld id="{8504A5E9-C034-4790-8B1D-A0CE37264437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306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role</a:t>
            </a:r>
          </a:p>
          <a:p>
            <a:pPr marL="171450" indent="-171450">
              <a:buFontTx/>
              <a:buChar char="-"/>
            </a:pPr>
            <a:r>
              <a:rPr lang="en-US" dirty="0"/>
              <a:t>enabler, convenor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are not the end users, we are not the technical delivery experts but we fill a vital role in bringing parties together and focusing solely on the goal of reducing impact that wildfires and floods have on communities and landsca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E6993-3066-4779-BA1A-6BBE7BBAD52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4730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In establishing the Resilient Communities Mission we have identified four areas of focus</a:t>
            </a:r>
          </a:p>
          <a:p>
            <a:endParaRPr lang="en-AU"/>
          </a:p>
          <a:p>
            <a:pPr marL="482986" indent="-482986">
              <a:buFont typeface="Arial" panose="020B0604020202020204" pitchFamily="34" charset="0"/>
              <a:buChar char="•"/>
            </a:pPr>
            <a:r>
              <a:rPr lang="en-AU"/>
              <a:t>Leadership</a:t>
            </a:r>
          </a:p>
          <a:p>
            <a:pPr marL="482986" indent="-482986">
              <a:buFont typeface="Arial" panose="020B0604020202020204" pitchFamily="34" charset="0"/>
              <a:buChar char="•"/>
            </a:pPr>
            <a:r>
              <a:rPr lang="en-AU"/>
              <a:t>Knowledge</a:t>
            </a:r>
          </a:p>
          <a:p>
            <a:pPr marL="482986" indent="-482986">
              <a:buFont typeface="Arial" panose="020B0604020202020204" pitchFamily="34" charset="0"/>
              <a:buChar char="•"/>
            </a:pPr>
            <a:r>
              <a:rPr lang="en-AU"/>
              <a:t>Resources</a:t>
            </a:r>
          </a:p>
          <a:p>
            <a:pPr marL="482986" indent="-482986">
              <a:buFont typeface="Arial" panose="020B0604020202020204" pitchFamily="34" charset="0"/>
              <a:buChar char="•"/>
            </a:pPr>
            <a:r>
              <a:rPr lang="en-AU"/>
              <a:t>Investment</a:t>
            </a:r>
          </a:p>
          <a:p>
            <a:pPr marL="482986" indent="-482986">
              <a:buFont typeface="Arial" panose="020B0604020202020204" pitchFamily="34" charset="0"/>
              <a:buChar char="•"/>
            </a:pPr>
            <a:endParaRPr lang="en-AU"/>
          </a:p>
          <a:p>
            <a:r>
              <a:rPr lang="en-AU"/>
              <a:t>In the next three months we will undertake the following initiatives in these areas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F05BAA-92F6-4DEA-A832-E4B15A2F525C}" type="slidenum">
              <a:rPr lang="en-AU" smtClean="0"/>
              <a:pPr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918631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rategy for fire shield</a:t>
            </a:r>
          </a:p>
          <a:p>
            <a:endParaRPr lang="en-US" dirty="0"/>
          </a:p>
          <a:p>
            <a:r>
              <a:rPr lang="en-US" dirty="0"/>
              <a:t>Big open questions or big open challenges that we need to solve for to land on FY24 plan and business cases</a:t>
            </a:r>
          </a:p>
          <a:p>
            <a:endParaRPr lang="en-US" dirty="0"/>
          </a:p>
          <a:p>
            <a:r>
              <a:rPr lang="en-US" dirty="0"/>
              <a:t>Exit session with decision – next steps we have to take to land that</a:t>
            </a:r>
          </a:p>
          <a:p>
            <a:endParaRPr lang="en-US" dirty="0"/>
          </a:p>
          <a:p>
            <a:r>
              <a:rPr lang="en-US" dirty="0"/>
              <a:t>Plan for 2025 and key things to address for FY24 plan</a:t>
            </a:r>
          </a:p>
          <a:p>
            <a:endParaRPr lang="en-US" dirty="0"/>
          </a:p>
          <a:p>
            <a:endParaRPr lang="en-US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05D9D8-0D13-42AC-A4A3-5D387929088E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8596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9BA84A-FA7F-A24B-8508-A86B4EF7B8D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485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1019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2232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Third">
    <p:bg>
      <p:bgPr>
        <a:solidFill>
          <a:srgbClr val="EAD9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69890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6153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899697"/>
              </p:ext>
            </p:ext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5998" b="0" i="0" baseline="0">
              <a:latin typeface="Minderoo-XCondBold" panose="020B0803030202060203" pitchFamily="34" charset="0"/>
              <a:ea typeface="+mj-ea"/>
              <a:cs typeface="+mj-cs"/>
              <a:sym typeface="Minderoo-XCondBold" panose="020B0803030202060203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552305" y="2204528"/>
            <a:ext cx="11087389" cy="4032903"/>
          </a:xfrm>
        </p:spPr>
        <p:txBody>
          <a:bodyPr>
            <a:normAutofit/>
          </a:bodyPr>
          <a:lstStyle>
            <a:lvl1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1pPr>
            <a:lvl2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2pPr>
            <a:lvl3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3pPr>
            <a:lvl4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4pPr>
            <a:lvl5pPr marL="0" marR="0" indent="0" algn="l" defTabSz="1088449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AU" noProof="0" dirty="0">
                <a:latin typeface="+mn-lt"/>
                <a:ea typeface="+mn-ea"/>
                <a:cs typeface="+mn-cs"/>
                <a:sym typeface="+mn-lt"/>
              </a:defRPr>
            </a:lvl5pPr>
            <a:lvl6pPr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defRPr lang="en-AU" noProof="0" dirty="0">
                <a:latin typeface="+mn-lt"/>
                <a:ea typeface="+mn-ea"/>
                <a:cs typeface="+mn-cs"/>
                <a:sym typeface="+mn-lt"/>
              </a:defRPr>
            </a:lvl6pPr>
            <a:lvl7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7pPr>
            <a:lvl8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8pPr>
            <a:lvl9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lvl="0"/>
            <a:r>
              <a:rPr lang="en-AU" noProof="0"/>
              <a:t>Click to add text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815CC6-603D-42E8-B118-0F48CABFB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305" y="488504"/>
            <a:ext cx="7917938" cy="516286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99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7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552305" y="2204528"/>
            <a:ext cx="11087389" cy="4032903"/>
          </a:xfrm>
        </p:spPr>
        <p:txBody>
          <a:bodyPr>
            <a:normAutofit/>
          </a:bodyPr>
          <a:lstStyle>
            <a:lvl1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1pPr>
            <a:lvl2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2pPr>
            <a:lvl3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3pPr>
            <a:lvl4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4pPr>
            <a:lvl5pPr marL="0" marR="0" indent="0" algn="l" defTabSz="1088449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AU" noProof="0" dirty="0">
                <a:latin typeface="+mj-lt"/>
                <a:ea typeface="+mn-ea"/>
                <a:cs typeface="+mn-cs"/>
                <a:sym typeface="+mn-lt"/>
              </a:defRPr>
            </a:lvl5pPr>
            <a:lvl6pPr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defRPr lang="en-AU" noProof="0" dirty="0">
                <a:latin typeface="+mn-lt"/>
                <a:ea typeface="+mn-ea"/>
                <a:cs typeface="+mn-cs"/>
                <a:sym typeface="+mn-lt"/>
              </a:defRPr>
            </a:lvl6pPr>
            <a:lvl7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7pPr>
            <a:lvl8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8pPr>
            <a:lvl9pPr>
              <a:defRPr lang="en-AU" noProof="0" dirty="0"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lvl="0"/>
            <a:r>
              <a:rPr lang="en-AU" noProof="0"/>
              <a:t>Click to add text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r>
              <a:rPr lang="en-AU" noProof="0"/>
              <a:t>Sixth level</a:t>
            </a:r>
          </a:p>
          <a:p>
            <a:pPr lvl="6"/>
            <a:r>
              <a:rPr lang="en-AU" noProof="0"/>
              <a:t>Seventh level</a:t>
            </a:r>
          </a:p>
          <a:p>
            <a:pPr lvl="7"/>
            <a:r>
              <a:rPr lang="en-AU" noProof="0"/>
              <a:t>Eighth level</a:t>
            </a:r>
          </a:p>
          <a:p>
            <a:pPr lvl="8"/>
            <a:r>
              <a:rPr lang="en-AU" noProof="0"/>
              <a:t>Nin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1815CC6-603D-42E8-B118-0F48CABFB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305" y="488504"/>
            <a:ext cx="7917938" cy="64501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2933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87FF203-603E-D34D-B340-D196B9A42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8E934C-F7AD-0247-BC81-0D1DE016F4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9FE378-C055-F24C-8F39-333446D7A4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918CE5-549A-CF46-9EB0-081FA6AA27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71FD29-5922-9D43-ABBB-9B347636F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68CD19-4630-2B46-BCD8-59F0F5E3C9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473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306" r:id="rId4"/>
    <p:sldLayoutId id="2147484314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orange&#10;&#10;Description automatically generated">
            <a:extLst>
              <a:ext uri="{FF2B5EF4-FFF2-40B4-BE49-F238E27FC236}">
                <a16:creationId xmlns:a16="http://schemas.microsoft.com/office/drawing/2014/main" id="{4A5C823C-8582-C2EC-FF56-6DC8ACEE1A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91F8BBA-E8A8-37D8-DBB2-82E8CFEB9D15}"/>
              </a:ext>
            </a:extLst>
          </p:cNvPr>
          <p:cNvSpPr txBox="1"/>
          <p:nvPr/>
        </p:nvSpPr>
        <p:spPr>
          <a:xfrm>
            <a:off x="396248" y="291207"/>
            <a:ext cx="108946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rgbClr val="E9D9C8"/>
                </a:solidFill>
                <a:latin typeface="Founders Grotesk X-Cond Bold" panose="020B0803030202060203" pitchFamily="34" charset="0"/>
              </a:rPr>
              <a:t>WE RISE TOGETHER</a:t>
            </a:r>
            <a:endParaRPr lang="en-AU" sz="9600" dirty="0">
              <a:solidFill>
                <a:srgbClr val="E9D9C8"/>
              </a:solidFill>
              <a:latin typeface="Founders Grotesk X-Cond Bold" panose="020B080303020206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6E148B-5F3B-FF65-D5C5-A779E86C8E54}"/>
              </a:ext>
            </a:extLst>
          </p:cNvPr>
          <p:cNvSpPr txBox="1"/>
          <p:nvPr/>
        </p:nvSpPr>
        <p:spPr>
          <a:xfrm>
            <a:off x="498222" y="2152074"/>
            <a:ext cx="459498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E9D9C8"/>
                </a:solidFill>
                <a:latin typeface="Founders Grotesk X-Cond Bold" panose="020B0803030202060203" pitchFamily="34" charset="0"/>
              </a:rPr>
              <a:t>MINDEROO’S FIRE AND FLOOD RESILIENCE INITIATIVE</a:t>
            </a:r>
            <a:endParaRPr lang="en-AU" sz="4400" dirty="0">
              <a:solidFill>
                <a:srgbClr val="E9D9C8"/>
              </a:solidFill>
              <a:latin typeface="Founders Grotesk X-Cond Bold" panose="020B08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965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80EA-5318-9E4E-C8A5-074A1104B630}"/>
              </a:ext>
            </a:extLst>
          </p:cNvPr>
          <p:cNvSpPr txBox="1">
            <a:spLocks/>
          </p:cNvSpPr>
          <p:nvPr/>
        </p:nvSpPr>
        <p:spPr>
          <a:xfrm>
            <a:off x="666989" y="1313066"/>
            <a:ext cx="5910345" cy="3151110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6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unders Grotesk X-Cond Bold" panose="020B0803030202060203" pitchFamily="34" charset="77"/>
                <a:ea typeface="+mj-ea"/>
                <a:cs typeface="+mj-cs"/>
              </a:rPr>
              <a:t>TO REDUCE THE HARM CAUSED BY FIRE AND FLOODS BY 2025</a:t>
            </a:r>
            <a:endParaRPr kumimoji="0" lang="en-AU" sz="8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unders Grotesk X-Cond Bold" panose="020B0803030202060203" pitchFamily="34" charset="77"/>
              <a:ea typeface="+mj-ea"/>
              <a:cs typeface="+mj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BA0BCBD9-B93E-4957-886A-057DF0D1D77F}"/>
              </a:ext>
            </a:extLst>
          </p:cNvPr>
          <p:cNvSpPr txBox="1">
            <a:spLocks/>
          </p:cNvSpPr>
          <p:nvPr/>
        </p:nvSpPr>
        <p:spPr>
          <a:xfrm>
            <a:off x="8617043" y="115722"/>
            <a:ext cx="1948803" cy="503590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ounders Grotesk X-Cond Bold" panose="020B0803030202060203" pitchFamily="34" charset="77"/>
                <a:ea typeface="+mj-ea"/>
                <a:cs typeface="+mj-cs"/>
              </a:rPr>
              <a:t>MISS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9FAB4D-6FC6-1A3E-0563-4D4973A3A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1826" y="1948863"/>
            <a:ext cx="1123991" cy="11239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50B508-BB2E-596B-1208-51867B5654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1826" y="3168186"/>
            <a:ext cx="1123991" cy="11239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884B1A2-196D-5E17-B0C5-956C6971E09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1826" y="702267"/>
            <a:ext cx="1074192" cy="1074192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9A360B61-15AB-8853-AA86-4FA4EB6D2901}"/>
              </a:ext>
            </a:extLst>
          </p:cNvPr>
          <p:cNvSpPr txBox="1">
            <a:spLocks/>
          </p:cNvSpPr>
          <p:nvPr/>
        </p:nvSpPr>
        <p:spPr>
          <a:xfrm>
            <a:off x="8617042" y="875586"/>
            <a:ext cx="2633960" cy="751672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6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FIRE</a:t>
            </a:r>
            <a:b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unders Grotesk X-Cond Bold" panose="020B0803030202060203" pitchFamily="34" charset="77"/>
                <a:ea typeface="+mj-ea"/>
                <a:cs typeface="+mj-cs"/>
              </a:rPr>
            </a:b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SHIELD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AAB58F1F-A37E-46B6-B76C-E1797A11C676}"/>
              </a:ext>
            </a:extLst>
          </p:cNvPr>
          <p:cNvSpPr txBox="1">
            <a:spLocks/>
          </p:cNvSpPr>
          <p:nvPr/>
        </p:nvSpPr>
        <p:spPr>
          <a:xfrm>
            <a:off x="8617042" y="2136629"/>
            <a:ext cx="2630077" cy="751672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6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RESILIENT</a:t>
            </a:r>
            <a:b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unders Grotesk X-Cond Bold" panose="020B0803030202060203" pitchFamily="34" charset="77"/>
                <a:ea typeface="+mj-ea"/>
                <a:cs typeface="+mj-cs"/>
              </a:rPr>
            </a:b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COMMUNITIES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866F6122-8C83-9C99-720D-651E1E4CA69A}"/>
              </a:ext>
            </a:extLst>
          </p:cNvPr>
          <p:cNvSpPr txBox="1">
            <a:spLocks/>
          </p:cNvSpPr>
          <p:nvPr/>
        </p:nvSpPr>
        <p:spPr>
          <a:xfrm>
            <a:off x="8617042" y="3354840"/>
            <a:ext cx="2493273" cy="751672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6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HEALTHY</a:t>
            </a:r>
            <a:b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ounders Grotesk X-Cond Bold" panose="020B0803030202060203" pitchFamily="34" charset="77"/>
                <a:ea typeface="+mj-ea"/>
                <a:cs typeface="+mj-cs"/>
              </a:rPr>
            </a:b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LANDSCAP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F7E2837-5B22-3305-B89F-6310E2941236}"/>
              </a:ext>
            </a:extLst>
          </p:cNvPr>
          <p:cNvGrpSpPr/>
          <p:nvPr/>
        </p:nvGrpSpPr>
        <p:grpSpPr>
          <a:xfrm>
            <a:off x="-3" y="5571565"/>
            <a:ext cx="12203878" cy="1335880"/>
            <a:chOff x="-3" y="5571565"/>
            <a:chExt cx="12203878" cy="133588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AA4304F-C63F-B4C2-45C0-2ABBDA991786}"/>
                </a:ext>
              </a:extLst>
            </p:cNvPr>
            <p:cNvSpPr/>
            <p:nvPr/>
          </p:nvSpPr>
          <p:spPr>
            <a:xfrm>
              <a:off x="-3" y="6094090"/>
              <a:ext cx="12203878" cy="813355"/>
            </a:xfrm>
            <a:prstGeom prst="rect">
              <a:avLst/>
            </a:prstGeom>
            <a:solidFill>
              <a:srgbClr val="F6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3D187D5E-0DEB-0251-CB80-8B5811116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28072" y="5571565"/>
              <a:ext cx="1054230" cy="1054230"/>
            </a:xfrm>
            <a:prstGeom prst="rect">
              <a:avLst/>
            </a:prstGeom>
            <a:ln>
              <a:noFill/>
            </a:ln>
          </p:spPr>
        </p:pic>
        <p:sp>
          <p:nvSpPr>
            <p:cNvPr id="7" name="Title 2">
              <a:extLst>
                <a:ext uri="{FF2B5EF4-FFF2-40B4-BE49-F238E27FC236}">
                  <a16:creationId xmlns:a16="http://schemas.microsoft.com/office/drawing/2014/main" id="{5728E82B-85AF-2FA3-3F72-BFD6CF00D33D}"/>
                </a:ext>
              </a:extLst>
            </p:cNvPr>
            <p:cNvSpPr txBox="1">
              <a:spLocks/>
            </p:cNvSpPr>
            <p:nvPr/>
          </p:nvSpPr>
          <p:spPr>
            <a:xfrm>
              <a:off x="405731" y="6094090"/>
              <a:ext cx="6981272" cy="626701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72000" rIns="0" bIns="0" rtlCol="0" anchor="t">
              <a:spAutoFit/>
            </a:bodyPr>
            <a:lstStyle>
              <a:lvl1pPr algn="l" defTabSz="1088776" rtl="0" eaLnBrk="1" latinLnBrk="0" hangingPunct="1">
                <a:lnSpc>
                  <a:spcPct val="62000"/>
                </a:lnSpc>
                <a:spcBef>
                  <a:spcPct val="0"/>
                </a:spcBef>
                <a:buNone/>
                <a:defRPr sz="6000" b="0" kern="1200">
                  <a:solidFill>
                    <a:schemeClr val="tx1"/>
                  </a:solidFill>
                  <a:latin typeface="Founders Grotesk X-Cond Bold" panose="020B0803030202060203" pitchFamily="34" charset="77"/>
                  <a:ea typeface="+mj-ea"/>
                  <a:cs typeface="+mj-cs"/>
                </a:defRPr>
              </a:lvl1pPr>
            </a:lstStyle>
            <a:p>
              <a:pPr marL="0" marR="0" lvl="0" indent="0" algn="l" defTabSz="108877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ounders Grotesk X-Cond Bold"/>
                  <a:ea typeface="+mj-ea"/>
                  <a:cs typeface="+mj-cs"/>
                </a:rPr>
                <a:t>FIRE AND FLOOD RESILIENCE</a:t>
              </a:r>
            </a:p>
          </p:txBody>
        </p:sp>
      </p:grpSp>
      <p:sp>
        <p:nvSpPr>
          <p:cNvPr id="10" name="Title 2">
            <a:extLst>
              <a:ext uri="{FF2B5EF4-FFF2-40B4-BE49-F238E27FC236}">
                <a16:creationId xmlns:a16="http://schemas.microsoft.com/office/drawing/2014/main" id="{7B59C137-5695-2558-696B-57FD1EBA424A}"/>
              </a:ext>
            </a:extLst>
          </p:cNvPr>
          <p:cNvSpPr txBox="1">
            <a:spLocks/>
          </p:cNvSpPr>
          <p:nvPr/>
        </p:nvSpPr>
        <p:spPr>
          <a:xfrm>
            <a:off x="8617042" y="5070356"/>
            <a:ext cx="2630077" cy="751672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6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FE4F02"/>
                </a:solidFill>
                <a:effectLst/>
                <a:uLnTx/>
                <a:uFillTx/>
                <a:latin typeface="Founders Grotesk X-Cond Bold"/>
                <a:ea typeface="+mj-ea"/>
                <a:cs typeface="+mj-cs"/>
              </a:rPr>
              <a:t>RESILIENCE DATA COLLECTIVE</a:t>
            </a:r>
          </a:p>
        </p:txBody>
      </p:sp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D5F05942-DC6E-DBF6-C740-5B934466D93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9376" y="4912608"/>
            <a:ext cx="1099091" cy="1075910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8118F5D7-77E6-8026-A8DD-D5E61EA08A00}"/>
              </a:ext>
            </a:extLst>
          </p:cNvPr>
          <p:cNvSpPr txBox="1">
            <a:spLocks/>
          </p:cNvSpPr>
          <p:nvPr/>
        </p:nvSpPr>
        <p:spPr>
          <a:xfrm>
            <a:off x="8644835" y="4353821"/>
            <a:ext cx="1948803" cy="503590"/>
          </a:xfrm>
          <a:prstGeom prst="rect">
            <a:avLst/>
          </a:prstGeom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ounders Grotesk X-Cond Bold" panose="020B0803030202060203" pitchFamily="34" charset="77"/>
                <a:ea typeface="+mj-ea"/>
                <a:cs typeface="+mj-cs"/>
              </a:rPr>
              <a:t>UNDERPINNED BY</a:t>
            </a:r>
          </a:p>
        </p:txBody>
      </p:sp>
    </p:spTree>
    <p:extLst>
      <p:ext uri="{BB962C8B-B14F-4D97-AF65-F5344CB8AC3E}">
        <p14:creationId xmlns:p14="http://schemas.microsoft.com/office/powerpoint/2010/main" val="222040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5FA3394-01E3-4388-9DFB-2DA050986DB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083300"/>
            <a:ext cx="12192000" cy="774700"/>
          </a:xfrm>
        </p:spPr>
        <p:txBody>
          <a:bodyPr/>
          <a:lstStyle/>
          <a:p>
            <a:endParaRPr lang="en-GB"/>
          </a:p>
          <a:p>
            <a:endParaRPr lang="en-AU"/>
          </a:p>
          <a:p>
            <a:endParaRPr lang="en-AU"/>
          </a:p>
          <a:p>
            <a:endParaRPr lang="en-AU"/>
          </a:p>
          <a:p>
            <a:endParaRPr lang="en-AU"/>
          </a:p>
          <a:p>
            <a:endParaRPr lang="en-AU"/>
          </a:p>
          <a:p>
            <a:endParaRPr lang="en-AU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EEBF606-217C-7548-83F7-D95DD29D32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99"/>
            <a:ext cx="12470649" cy="6857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06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9C8362A-C033-61F6-EFB7-8A55072921F8}"/>
              </a:ext>
            </a:extLst>
          </p:cNvPr>
          <p:cNvSpPr/>
          <p:nvPr/>
        </p:nvSpPr>
        <p:spPr>
          <a:xfrm>
            <a:off x="927189" y="1199709"/>
            <a:ext cx="10204628" cy="1057143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2B838B-B79F-7B00-1B91-0423B7FEED3F}"/>
              </a:ext>
            </a:extLst>
          </p:cNvPr>
          <p:cNvSpPr txBox="1"/>
          <p:nvPr/>
        </p:nvSpPr>
        <p:spPr>
          <a:xfrm>
            <a:off x="1060183" y="1189360"/>
            <a:ext cx="989763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3200" dirty="0">
                <a:solidFill>
                  <a:schemeClr val="bg1"/>
                </a:solidFill>
              </a:rPr>
              <a:t>Reduce the scale and impact of bushfires by being able to extinguish </a:t>
            </a:r>
            <a:r>
              <a:rPr lang="en-GB" sz="3200" b="1" dirty="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rgbClr val="FF4600"/>
                </a:solidFill>
              </a:rPr>
              <a:t>DANGEROUS</a:t>
            </a:r>
            <a:r>
              <a:rPr lang="en-GB" sz="32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GB" sz="3200" dirty="0">
                <a:solidFill>
                  <a:schemeClr val="bg1"/>
                </a:solidFill>
              </a:rPr>
              <a:t>fires within an </a:t>
            </a:r>
            <a:r>
              <a:rPr lang="en-GB" sz="3200" b="1" dirty="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rgbClr val="FF4600"/>
                </a:solidFill>
              </a:rPr>
              <a:t>HOUR</a:t>
            </a:r>
            <a:r>
              <a:rPr lang="en-GB" sz="3200" dirty="0">
                <a:solidFill>
                  <a:schemeClr val="bg1"/>
                </a:solidFill>
              </a:rPr>
              <a:t>, by 2025.</a:t>
            </a:r>
            <a:endParaRPr lang="en-AU" sz="32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F224B68-34EA-A108-E206-A88CF5270BF2}"/>
              </a:ext>
            </a:extLst>
          </p:cNvPr>
          <p:cNvSpPr/>
          <p:nvPr/>
        </p:nvSpPr>
        <p:spPr>
          <a:xfrm>
            <a:off x="568871" y="2923309"/>
            <a:ext cx="5306354" cy="3488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D42C58-B2B0-D696-CF1F-C34A83CF2ED3}"/>
              </a:ext>
            </a:extLst>
          </p:cNvPr>
          <p:cNvSpPr/>
          <p:nvPr/>
        </p:nvSpPr>
        <p:spPr>
          <a:xfrm>
            <a:off x="6382209" y="2917790"/>
            <a:ext cx="5240920" cy="34940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732BF7-10A3-3705-F2CF-7FCB246100A5}"/>
              </a:ext>
            </a:extLst>
          </p:cNvPr>
          <p:cNvSpPr txBox="1"/>
          <p:nvPr/>
        </p:nvSpPr>
        <p:spPr>
          <a:xfrm>
            <a:off x="670311" y="2548682"/>
            <a:ext cx="1844449" cy="369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99" b="1">
                <a:solidFill>
                  <a:srgbClr val="FF4600"/>
                </a:solidFill>
              </a:rPr>
              <a:t>PREDICT | SHARE</a:t>
            </a:r>
          </a:p>
        </p:txBody>
      </p:sp>
      <p:sp>
        <p:nvSpPr>
          <p:cNvPr id="10" name="Down Arrow 9">
            <a:extLst>
              <a:ext uri="{FF2B5EF4-FFF2-40B4-BE49-F238E27FC236}">
                <a16:creationId xmlns:a16="http://schemas.microsoft.com/office/drawing/2014/main" id="{77D834E3-7342-CF88-8C69-B3F67FC61FE9}"/>
              </a:ext>
            </a:extLst>
          </p:cNvPr>
          <p:cNvSpPr/>
          <p:nvPr/>
        </p:nvSpPr>
        <p:spPr>
          <a:xfrm>
            <a:off x="4010354" y="2387455"/>
            <a:ext cx="356829" cy="505792"/>
          </a:xfrm>
          <a:prstGeom prst="downArrow">
            <a:avLst/>
          </a:prstGeom>
          <a:solidFill>
            <a:srgbClr val="FF4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Down Arrow 10">
            <a:extLst>
              <a:ext uri="{FF2B5EF4-FFF2-40B4-BE49-F238E27FC236}">
                <a16:creationId xmlns:a16="http://schemas.microsoft.com/office/drawing/2014/main" id="{B6CE3B12-E834-790E-F7F0-E29EFA7DF638}"/>
              </a:ext>
            </a:extLst>
          </p:cNvPr>
          <p:cNvSpPr/>
          <p:nvPr/>
        </p:nvSpPr>
        <p:spPr>
          <a:xfrm>
            <a:off x="8222862" y="2353905"/>
            <a:ext cx="356829" cy="505792"/>
          </a:xfrm>
          <a:prstGeom prst="downArrow">
            <a:avLst/>
          </a:prstGeom>
          <a:solidFill>
            <a:srgbClr val="FF4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3B8810-0681-F9B5-CB12-E1FB6C680944}"/>
              </a:ext>
            </a:extLst>
          </p:cNvPr>
          <p:cNvSpPr txBox="1"/>
          <p:nvPr/>
        </p:nvSpPr>
        <p:spPr>
          <a:xfrm>
            <a:off x="10388024" y="2530226"/>
            <a:ext cx="901935" cy="369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99" b="1">
                <a:solidFill>
                  <a:srgbClr val="FF4600"/>
                </a:solidFill>
              </a:rPr>
              <a:t>DETE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F6268A-11DA-5EAB-A62E-A41E499331E4}"/>
              </a:ext>
            </a:extLst>
          </p:cNvPr>
          <p:cNvSpPr txBox="1"/>
          <p:nvPr/>
        </p:nvSpPr>
        <p:spPr>
          <a:xfrm>
            <a:off x="6690466" y="3535508"/>
            <a:ext cx="1761567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b="1">
                <a:solidFill>
                  <a:schemeClr val="bg2">
                    <a:lumMod val="50000"/>
                  </a:schemeClr>
                </a:solidFill>
              </a:rPr>
              <a:t>1) SPACE-BASED DETE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BAFA50-1827-31C8-7116-EF66F94D9223}"/>
              </a:ext>
            </a:extLst>
          </p:cNvPr>
          <p:cNvSpPr txBox="1"/>
          <p:nvPr/>
        </p:nvSpPr>
        <p:spPr>
          <a:xfrm>
            <a:off x="9370250" y="3523008"/>
            <a:ext cx="1761567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b="1">
                <a:solidFill>
                  <a:schemeClr val="bg2">
                    <a:lumMod val="50000"/>
                  </a:schemeClr>
                </a:solidFill>
              </a:rPr>
              <a:t>2) GROUND DETEC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295021-F5AF-0E44-3DE7-9F268F8FC57A}"/>
              </a:ext>
            </a:extLst>
          </p:cNvPr>
          <p:cNvSpPr txBox="1"/>
          <p:nvPr/>
        </p:nvSpPr>
        <p:spPr>
          <a:xfrm>
            <a:off x="8045472" y="4852147"/>
            <a:ext cx="1761567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b="1">
                <a:solidFill>
                  <a:schemeClr val="bg2">
                    <a:lumMod val="50000"/>
                  </a:schemeClr>
                </a:solidFill>
              </a:rPr>
              <a:t>3) HIGH RISK LIGHTNING</a:t>
            </a:r>
          </a:p>
        </p:txBody>
      </p:sp>
      <p:pic>
        <p:nvPicPr>
          <p:cNvPr id="18" name="Graphic 17" descr="Lightning bolt with solid fill">
            <a:extLst>
              <a:ext uri="{FF2B5EF4-FFF2-40B4-BE49-F238E27FC236}">
                <a16:creationId xmlns:a16="http://schemas.microsoft.com/office/drawing/2014/main" id="{155409FB-2062-FDD1-D4B8-D5334A7922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92305" y="5454992"/>
            <a:ext cx="862273" cy="862273"/>
          </a:xfrm>
          <a:prstGeom prst="rect">
            <a:avLst/>
          </a:prstGeom>
        </p:spPr>
      </p:pic>
      <p:pic>
        <p:nvPicPr>
          <p:cNvPr id="22" name="Graphic 21" descr="Satellite with solid fill">
            <a:extLst>
              <a:ext uri="{FF2B5EF4-FFF2-40B4-BE49-F238E27FC236}">
                <a16:creationId xmlns:a16="http://schemas.microsoft.com/office/drawing/2014/main" id="{73F1658E-CB59-6244-A0FD-11B08D17F3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39156" y="4210401"/>
            <a:ext cx="914374" cy="914374"/>
          </a:xfrm>
          <a:prstGeom prst="rect">
            <a:avLst/>
          </a:prstGeom>
        </p:spPr>
      </p:pic>
      <p:pic>
        <p:nvPicPr>
          <p:cNvPr id="24" name="Graphic 23" descr="Cell Tower with solid fill">
            <a:extLst>
              <a:ext uri="{FF2B5EF4-FFF2-40B4-BE49-F238E27FC236}">
                <a16:creationId xmlns:a16="http://schemas.microsoft.com/office/drawing/2014/main" id="{5C655CC5-6A20-72C1-2268-4853AEDC00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24618" y="4156626"/>
            <a:ext cx="914374" cy="91437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81EB485F-E360-FA82-70E5-35E7B24D0968}"/>
              </a:ext>
            </a:extLst>
          </p:cNvPr>
          <p:cNvSpPr txBox="1"/>
          <p:nvPr/>
        </p:nvSpPr>
        <p:spPr>
          <a:xfrm>
            <a:off x="753193" y="3510379"/>
            <a:ext cx="1761567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b="1" dirty="0">
                <a:solidFill>
                  <a:schemeClr val="bg2">
                    <a:lumMod val="50000"/>
                  </a:schemeClr>
                </a:solidFill>
              </a:rPr>
              <a:t>1) FUEL LOAD MAPP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020FF98-D2FE-B451-58E8-AAA389191CBC}"/>
              </a:ext>
            </a:extLst>
          </p:cNvPr>
          <p:cNvSpPr txBox="1"/>
          <p:nvPr/>
        </p:nvSpPr>
        <p:spPr>
          <a:xfrm>
            <a:off x="3284865" y="3539570"/>
            <a:ext cx="2105925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b="1">
                <a:solidFill>
                  <a:schemeClr val="bg2">
                    <a:lumMod val="50000"/>
                  </a:schemeClr>
                </a:solidFill>
              </a:rPr>
              <a:t>2) FIRE BEHAVIOUR MODELL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957CA6-17B4-965A-7901-FD507A68CFFF}"/>
              </a:ext>
            </a:extLst>
          </p:cNvPr>
          <p:cNvSpPr txBox="1"/>
          <p:nvPr/>
        </p:nvSpPr>
        <p:spPr>
          <a:xfrm>
            <a:off x="1881406" y="4854965"/>
            <a:ext cx="2485777" cy="646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b="1">
                <a:solidFill>
                  <a:schemeClr val="bg2">
                    <a:lumMod val="50000"/>
                  </a:schemeClr>
                </a:solidFill>
              </a:rPr>
              <a:t>3) ENHANCED DECISIONS &amp; WARNING</a:t>
            </a:r>
          </a:p>
        </p:txBody>
      </p:sp>
      <p:pic>
        <p:nvPicPr>
          <p:cNvPr id="29" name="Graphic 28" descr="Forest scene with solid fill">
            <a:extLst>
              <a:ext uri="{FF2B5EF4-FFF2-40B4-BE49-F238E27FC236}">
                <a16:creationId xmlns:a16="http://schemas.microsoft.com/office/drawing/2014/main" id="{A387A00E-D5D9-BC0C-7056-03935E6068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76790" y="4049332"/>
            <a:ext cx="914374" cy="914374"/>
          </a:xfrm>
          <a:prstGeom prst="rect">
            <a:avLst/>
          </a:prstGeom>
        </p:spPr>
      </p:pic>
      <p:pic>
        <p:nvPicPr>
          <p:cNvPr id="31" name="Graphic 30" descr="Comment Fire with solid fill">
            <a:extLst>
              <a:ext uri="{FF2B5EF4-FFF2-40B4-BE49-F238E27FC236}">
                <a16:creationId xmlns:a16="http://schemas.microsoft.com/office/drawing/2014/main" id="{EFFD5625-623A-3BF1-8296-9A1C257DB1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51033" y="4224703"/>
            <a:ext cx="914374" cy="914374"/>
          </a:xfrm>
          <a:prstGeom prst="rect">
            <a:avLst/>
          </a:prstGeom>
        </p:spPr>
      </p:pic>
      <p:pic>
        <p:nvPicPr>
          <p:cNvPr id="33" name="Graphic 32" descr="Firefighter male with solid fill">
            <a:extLst>
              <a:ext uri="{FF2B5EF4-FFF2-40B4-BE49-F238E27FC236}">
                <a16:creationId xmlns:a16="http://schemas.microsoft.com/office/drawing/2014/main" id="{9957527A-1BBE-C09D-DB99-C154B0D4600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21854" y="5413507"/>
            <a:ext cx="914374" cy="914374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A0F03AE3-769F-6294-5EFE-AE68D833B667}"/>
              </a:ext>
            </a:extLst>
          </p:cNvPr>
          <p:cNvSpPr txBox="1">
            <a:spLocks/>
          </p:cNvSpPr>
          <p:nvPr/>
        </p:nvSpPr>
        <p:spPr>
          <a:xfrm>
            <a:off x="3222048" y="0"/>
            <a:ext cx="5828955" cy="73288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000" dirty="0">
                <a:solidFill>
                  <a:srgbClr val="FF5300"/>
                </a:solidFill>
                <a:latin typeface="Founders Grotesk X-Cond Bold" panose="020B0803030202060203" pitchFamily="34" charset="77"/>
              </a:rPr>
              <a:t>FIRE SHIELD</a:t>
            </a:r>
          </a:p>
        </p:txBody>
      </p:sp>
    </p:spTree>
    <p:extLst>
      <p:ext uri="{BB962C8B-B14F-4D97-AF65-F5344CB8AC3E}">
        <p14:creationId xmlns:p14="http://schemas.microsoft.com/office/powerpoint/2010/main" val="282451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A64B4A2-1224-7948-9CFA-F4CBFAAAF86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1703" y="92004"/>
            <a:ext cx="10583863" cy="66675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dirty="0">
                <a:solidFill>
                  <a:srgbClr val="FF5300"/>
                </a:solidFill>
                <a:latin typeface="Founders Grotesk X-Cond Bold" panose="020B0803030202060203" pitchFamily="34" charset="77"/>
              </a:rPr>
              <a:t>FIRE SHIELD NATIONALLY SIGNIFICANT PROGRAM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A9103F97-BBAF-48D2-9C44-CDFD3B0387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6501993"/>
              </p:ext>
            </p:extLst>
          </p:nvPr>
        </p:nvGraphicFramePr>
        <p:xfrm>
          <a:off x="488950" y="928463"/>
          <a:ext cx="10957887" cy="55489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B75DDC08-31E7-4C25-8932-5D6BB8FE9F91}"/>
              </a:ext>
            </a:extLst>
          </p:cNvPr>
          <p:cNvSpPr txBox="1"/>
          <p:nvPr/>
        </p:nvSpPr>
        <p:spPr>
          <a:xfrm>
            <a:off x="7462873" y="945992"/>
            <a:ext cx="237051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/>
            <a:r>
              <a:rPr lang="en-US" sz="1600" dirty="0"/>
              <a:t>National map of fuel load for evidence-based mitigation and improved understanding of fire </a:t>
            </a:r>
            <a:r>
              <a:rPr lang="en-US" sz="1600" dirty="0" err="1"/>
              <a:t>behaviour</a:t>
            </a:r>
            <a:endParaRPr lang="en-AU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F020DA-EB89-4C69-B1C2-0896E2321EC1}"/>
              </a:ext>
            </a:extLst>
          </p:cNvPr>
          <p:cNvSpPr txBox="1"/>
          <p:nvPr/>
        </p:nvSpPr>
        <p:spPr>
          <a:xfrm>
            <a:off x="2254251" y="955074"/>
            <a:ext cx="250673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600" dirty="0"/>
              <a:t>Global capability to detect and monitor fires from space in near real time</a:t>
            </a:r>
            <a:endParaRPr lang="en-AU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7CF6E7-57F3-42F1-8622-433AA764D237}"/>
              </a:ext>
            </a:extLst>
          </p:cNvPr>
          <p:cNvSpPr txBox="1"/>
          <p:nvPr/>
        </p:nvSpPr>
        <p:spPr>
          <a:xfrm>
            <a:off x="2205233" y="4816288"/>
            <a:ext cx="255575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600" dirty="0"/>
              <a:t>Nationally </a:t>
            </a:r>
          </a:p>
          <a:p>
            <a:pPr lvl="0"/>
            <a:r>
              <a:rPr lang="en-US" sz="1600" dirty="0"/>
              <a:t>integrated fire</a:t>
            </a:r>
          </a:p>
          <a:p>
            <a:pPr lvl="0"/>
            <a:r>
              <a:rPr lang="en-US" sz="1600" dirty="0"/>
              <a:t>spread simulator </a:t>
            </a:r>
          </a:p>
          <a:p>
            <a:pPr lvl="0"/>
            <a:r>
              <a:rPr lang="en-US" sz="1600" dirty="0"/>
              <a:t>to provide intelligence </a:t>
            </a:r>
          </a:p>
          <a:p>
            <a:pPr lvl="0"/>
            <a:r>
              <a:rPr lang="en-US" sz="1600" dirty="0"/>
              <a:t>for response and early community warnings</a:t>
            </a:r>
            <a:endParaRPr lang="en-AU" sz="16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C2E548B-FE5C-42C9-A3AC-6198887ECD9B}"/>
              </a:ext>
            </a:extLst>
          </p:cNvPr>
          <p:cNvSpPr txBox="1"/>
          <p:nvPr/>
        </p:nvSpPr>
        <p:spPr>
          <a:xfrm>
            <a:off x="7544857" y="5013111"/>
            <a:ext cx="228853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r"/>
            <a:r>
              <a:rPr lang="en-US" sz="1600" dirty="0"/>
              <a:t>Efficient </a:t>
            </a:r>
          </a:p>
          <a:p>
            <a:pPr lvl="0" algn="r"/>
            <a:r>
              <a:rPr lang="en-US" sz="1600" dirty="0"/>
              <a:t>response through integrated intelligence to </a:t>
            </a:r>
            <a:r>
              <a:rPr lang="en-US" sz="1600" dirty="0" err="1"/>
              <a:t>prioritise</a:t>
            </a:r>
            <a:r>
              <a:rPr lang="en-US" sz="1600" dirty="0"/>
              <a:t> potentially dangerous fires</a:t>
            </a:r>
            <a:endParaRPr lang="en-AU" sz="1600" dirty="0"/>
          </a:p>
        </p:txBody>
      </p:sp>
    </p:spTree>
    <p:extLst>
      <p:ext uri="{BB962C8B-B14F-4D97-AF65-F5344CB8AC3E}">
        <p14:creationId xmlns:p14="http://schemas.microsoft.com/office/powerpoint/2010/main" val="358141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09AAC55-4971-24D7-24F9-472D5727D9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35" name="Title 2">
            <a:extLst>
              <a:ext uri="{FF2B5EF4-FFF2-40B4-BE49-F238E27FC236}">
                <a16:creationId xmlns:a16="http://schemas.microsoft.com/office/drawing/2014/main" id="{FEFDBAB5-2E93-8540-AA61-2F0C502BD678}"/>
              </a:ext>
            </a:extLst>
          </p:cNvPr>
          <p:cNvSpPr txBox="1">
            <a:spLocks/>
          </p:cNvSpPr>
          <p:nvPr/>
        </p:nvSpPr>
        <p:spPr>
          <a:xfrm>
            <a:off x="586451" y="1815463"/>
            <a:ext cx="11019098" cy="2387824"/>
          </a:xfrm>
          <a:prstGeom prst="rect">
            <a:avLst/>
          </a:prstGeom>
          <a:ln>
            <a:noFill/>
          </a:ln>
        </p:spPr>
        <p:txBody>
          <a:bodyPr vert="horz" wrap="square" lIns="0" tIns="72000" rIns="0" bIns="0" rtlCol="0" anchor="t">
            <a:spAutoFit/>
          </a:bodyPr>
          <a:lstStyle>
            <a:lvl1pPr algn="l" defTabSz="1088776" rtl="0" eaLnBrk="1" latinLnBrk="0" hangingPunct="1">
              <a:lnSpc>
                <a:spcPct val="62000"/>
              </a:lnSpc>
              <a:spcBef>
                <a:spcPct val="0"/>
              </a:spcBef>
              <a:buNone/>
              <a:defRPr sz="6000" b="0" kern="1200">
                <a:solidFill>
                  <a:schemeClr val="tx1"/>
                </a:solidFill>
                <a:latin typeface="Founders Grotesk X-Cond Bold" panose="020B0803030202060203" pitchFamily="34" charset="77"/>
                <a:ea typeface="+mj-ea"/>
                <a:cs typeface="+mj-cs"/>
              </a:defRPr>
            </a:lvl1pPr>
          </a:lstStyle>
          <a:p>
            <a:pPr marL="0" marR="0" lvl="0" indent="0" algn="r" defTabSz="1088776" rtl="0" eaLnBrk="1" fontAlgn="auto" latinLnBrk="0" hangingPunct="1">
              <a:lnSpc>
                <a:spcPct val="6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i="0" u="none" strike="noStrike" kern="1200" normalizeH="0" baseline="0" noProof="0" dirty="0">
                <a:ln w="0"/>
                <a:solidFill>
                  <a:srgbClr val="EAD9C8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</a:rPr>
              <a:t>WILDFIRE IS A GLOBAL PROBLEM …</a:t>
            </a:r>
          </a:p>
          <a:p>
            <a:pPr marL="0" marR="0" lvl="0" indent="0" algn="r" defTabSz="1088776" rtl="0" eaLnBrk="1" fontAlgn="auto" latinLnBrk="0" hangingPunct="1">
              <a:lnSpc>
                <a:spcPct val="6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i="0" u="none" strike="noStrike" kern="1200" normalizeH="0" baseline="0" noProof="0" dirty="0">
                <a:ln w="0"/>
                <a:solidFill>
                  <a:srgbClr val="EAD9C8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</a:rPr>
              <a:t> </a:t>
            </a:r>
          </a:p>
          <a:p>
            <a:pPr marL="0" marR="0" lvl="0" indent="0" algn="r" defTabSz="1088776" rtl="0" eaLnBrk="1" fontAlgn="auto" latinLnBrk="0" hangingPunct="1">
              <a:lnSpc>
                <a:spcPct val="62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i="0" u="none" strike="noStrike" kern="1200" normalizeH="0" baseline="0" noProof="0" dirty="0">
                <a:ln w="0"/>
                <a:solidFill>
                  <a:srgbClr val="EAD9C8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uLnTx/>
                <a:uFillTx/>
              </a:rPr>
              <a:t>LET’S DELIVER A GLOBAL SOLUTION</a:t>
            </a:r>
          </a:p>
        </p:txBody>
      </p:sp>
      <p:sp>
        <p:nvSpPr>
          <p:cNvPr id="5" name="Google Shape;88;p19">
            <a:extLst>
              <a:ext uri="{FF2B5EF4-FFF2-40B4-BE49-F238E27FC236}">
                <a16:creationId xmlns:a16="http://schemas.microsoft.com/office/drawing/2014/main" id="{7787D09C-E3A0-4CA3-8A1C-568AA0C0E7CE}"/>
              </a:ext>
            </a:extLst>
          </p:cNvPr>
          <p:cNvSpPr/>
          <p:nvPr/>
        </p:nvSpPr>
        <p:spPr>
          <a:xfrm>
            <a:off x="0" y="5648324"/>
            <a:ext cx="12192001" cy="120967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2" descr="FireTech Partners">
            <a:extLst>
              <a:ext uri="{FF2B5EF4-FFF2-40B4-BE49-F238E27FC236}">
                <a16:creationId xmlns:a16="http://schemas.microsoft.com/office/drawing/2014/main" id="{6E61071C-0206-4697-97A4-31FC269669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1692" y="5922786"/>
            <a:ext cx="1900654" cy="705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6503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Cr1sQH5O2mOX23AyTl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205CB925A3E64A9AB32D82CD9501F7" ma:contentTypeVersion="21" ma:contentTypeDescription="Create a new document." ma:contentTypeScope="" ma:versionID="b430e320b278b0b7f5b3f9a479adbc67">
  <xsd:schema xmlns:xsd="http://www.w3.org/2001/XMLSchema" xmlns:xs="http://www.w3.org/2001/XMLSchema" xmlns:p="http://schemas.microsoft.com/office/2006/metadata/properties" xmlns:ns2="e1a551d1-9e8b-4433-9bb6-91e19c85cf7c" xmlns:ns3="8fa3d447-1b4f-4aee-aa6f-0957ea5f4eba" xmlns:ns4="f3afbf2d-beef-446a-8758-84a7ca43c063" targetNamespace="http://schemas.microsoft.com/office/2006/metadata/properties" ma:root="true" ma:fieldsID="92e0d09d6991786d61ab318b7517e5e0" ns2:_="" ns3:_="" ns4:_="">
    <xsd:import namespace="e1a551d1-9e8b-4433-9bb6-91e19c85cf7c"/>
    <xsd:import namespace="8fa3d447-1b4f-4aee-aa6f-0957ea5f4eba"/>
    <xsd:import namespace="f3afbf2d-beef-446a-8758-84a7ca43c0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_Flow_SignoffStatu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a551d1-9e8b-4433-9bb6-91e19c85cf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_Flow_SignoffStatus" ma:index="18" nillable="true" ma:displayName="Sign-off status" ma:internalName="Sign_x002d_off_x0020_status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73a0f41-acff-4f94-90ca-11a2a97b1b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a3d447-1b4f-4aee-aa6f-0957ea5f4eb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fbf2d-beef-446a-8758-84a7ca43c06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e7d8aa44-f249-4cab-af26-17b9b928b8e4}" ma:internalName="TaxCatchAll" ma:showField="CatchAllData" ma:web="8fa3d447-1b4f-4aee-aa6f-0957ea5f4e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e1a551d1-9e8b-4433-9bb6-91e19c85cf7c" xsi:nil="true"/>
    <SharedWithUsers xmlns="8fa3d447-1b4f-4aee-aa6f-0957ea5f4eba">
      <UserInfo>
        <DisplayName>Milica Duric</DisplayName>
        <AccountId>6</AccountId>
        <AccountType/>
      </UserInfo>
      <UserInfo>
        <DisplayName>Karen O’Connor</DisplayName>
        <AccountId>14</AccountId>
        <AccountType/>
      </UserInfo>
      <UserInfo>
        <DisplayName>Jamie Loyd</DisplayName>
        <AccountId>59</AccountId>
        <AccountType/>
      </UserInfo>
      <UserInfo>
        <DisplayName>Shannon Taylor</DisplayName>
        <AccountId>109</AccountId>
        <AccountType/>
      </UserInfo>
      <UserInfo>
        <DisplayName>Priyanka Dharmapalan</DisplayName>
        <AccountId>816</AccountId>
        <AccountType/>
      </UserInfo>
      <UserInfo>
        <DisplayName>Brianna Sanders</DisplayName>
        <AccountId>619</AccountId>
        <AccountType/>
      </UserInfo>
      <UserInfo>
        <DisplayName>Deepak Kurmi</DisplayName>
        <AccountId>132</AccountId>
        <AccountType/>
      </UserInfo>
      <UserInfo>
        <DisplayName>Kate Powl</DisplayName>
        <AccountId>113</AccountId>
        <AccountType/>
      </UserInfo>
      <UserInfo>
        <DisplayName>Nell Mitchell</DisplayName>
        <AccountId>1053</AccountId>
        <AccountType/>
      </UserInfo>
    </SharedWithUsers>
    <TaxCatchAll xmlns="f3afbf2d-beef-446a-8758-84a7ca43c063" xsi:nil="true"/>
    <lcf76f155ced4ddcb4097134ff3c332f xmlns="e1a551d1-9e8b-4433-9bb6-91e19c85cf7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85BEBDA-CA41-4448-BCB4-A7A2F59CE24A}">
  <ds:schemaRefs>
    <ds:schemaRef ds:uri="8fa3d447-1b4f-4aee-aa6f-0957ea5f4eba"/>
    <ds:schemaRef ds:uri="e1a551d1-9e8b-4433-9bb6-91e19c85cf7c"/>
    <ds:schemaRef ds:uri="f3afbf2d-beef-446a-8758-84a7ca43c06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96C0AD9-E0F5-4366-8875-38177901D22F}">
  <ds:schemaRefs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8fa3d447-1b4f-4aee-aa6f-0957ea5f4eba"/>
    <ds:schemaRef ds:uri="f3afbf2d-beef-446a-8758-84a7ca43c063"/>
    <ds:schemaRef ds:uri="e1a551d1-9e8b-4433-9bb6-91e19c85cf7c"/>
    <ds:schemaRef ds:uri="http://www.w3.org/XML/1998/namespace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7F1FA80-A8C0-47CB-954B-99C444FA35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15</TotalTime>
  <Words>313</Words>
  <Application>Microsoft Office PowerPoint</Application>
  <PresentationFormat>Widescreen</PresentationFormat>
  <Paragraphs>6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Founders Grotesk X-Cond Bold</vt:lpstr>
      <vt:lpstr>Minderoo-XCondBold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FIRE SHIELD NATIONALLY SIGNIFICANT PROGRAM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en O'Connor</dc:creator>
  <cp:lastModifiedBy>Hinkley, Everett - FS, DC</cp:lastModifiedBy>
  <cp:revision>9</cp:revision>
  <dcterms:created xsi:type="dcterms:W3CDTF">2023-04-12T21:59:47Z</dcterms:created>
  <dcterms:modified xsi:type="dcterms:W3CDTF">2023-04-18T17:1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</Properties>
</file>